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314" r:id="rId5"/>
    <p:sldId id="333" r:id="rId6"/>
    <p:sldId id="339" r:id="rId7"/>
    <p:sldId id="340" r:id="rId8"/>
    <p:sldId id="323" r:id="rId9"/>
    <p:sldId id="321" r:id="rId10"/>
    <p:sldId id="341" r:id="rId11"/>
    <p:sldId id="342" r:id="rId12"/>
    <p:sldId id="289" r:id="rId13"/>
  </p:sldIdLst>
  <p:sldSz cx="12192000" cy="6858000"/>
  <p:notesSz cx="6858000" cy="91440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4"/>
            <p14:sldId id="333"/>
            <p14:sldId id="339"/>
            <p14:sldId id="340"/>
            <p14:sldId id="323"/>
            <p14:sldId id="321"/>
            <p14:sldId id="341"/>
            <p14:sldId id="342"/>
            <p14:sldId id="28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008C"/>
    <a:srgbClr val="F599C3"/>
    <a:srgbClr val="F9C3DB"/>
    <a:srgbClr val="F27CB1"/>
    <a:srgbClr val="F06AA7"/>
    <a:srgbClr val="FDE9F2"/>
    <a:srgbClr val="FACEE2"/>
    <a:srgbClr val="FFE8A7"/>
    <a:srgbClr val="FFD55D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0C2D75-0774-4E44-87B1-937A955C7469}" v="3445" dt="2022-03-21T20:29:42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BA0C2D75-0774-4E44-87B1-937A955C7469}"/>
    <pc:docChg chg="undo custSel addSld delSld modSld sldOrd modSection">
      <pc:chgData name="Helena Laasjärvi" userId="147922e0-9e4e-413c-924b-93f8f61c2127" providerId="ADAL" clId="{BA0C2D75-0774-4E44-87B1-937A955C7469}" dt="2022-03-21T20:29:40.286" v="816" actId="47"/>
      <pc:docMkLst>
        <pc:docMk/>
      </pc:docMkLst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BA0C2D75-0774-4E44-87B1-937A955C7469}" dt="2022-03-21T20:29:40.286" v="816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BA0C2D75-0774-4E44-87B1-937A955C7469}" dt="2022-03-21T20:29:40.286" v="816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BA0C2D75-0774-4E44-87B1-937A955C7469}" dt="2022-03-21T20:29:40.286" v="816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715913612" sldId="288"/>
        </pc:sldMkLst>
      </pc:sldChg>
      <pc:sldChg chg="modSp mod ord">
        <pc:chgData name="Helena Laasjärvi" userId="147922e0-9e4e-413c-924b-93f8f61c2127" providerId="ADAL" clId="{BA0C2D75-0774-4E44-87B1-937A955C7469}" dt="2022-03-21T20:27:11.439" v="721"/>
        <pc:sldMkLst>
          <pc:docMk/>
          <pc:sldMk cId="752674889" sldId="289"/>
        </pc:sldMkLst>
        <pc:spChg chg="mod">
          <ac:chgData name="Helena Laasjärvi" userId="147922e0-9e4e-413c-924b-93f8f61c2127" providerId="ADAL" clId="{BA0C2D75-0774-4E44-87B1-937A955C7469}" dt="2022-03-21T20:27:11.431" v="719" actId="948"/>
          <ac:spMkLst>
            <pc:docMk/>
            <pc:sldMk cId="752674889" sldId="289"/>
            <ac:spMk id="2" creationId="{3C758F86-BBBF-48AA-8EC6-ADA1457FD750}"/>
          </ac:spMkLst>
        </pc:spChg>
        <pc:graphicFrameChg chg="mod">
          <ac:chgData name="Helena Laasjärvi" userId="147922e0-9e4e-413c-924b-93f8f61c2127" providerId="ADAL" clId="{BA0C2D75-0774-4E44-87B1-937A955C7469}" dt="2022-03-21T20:27:11.439" v="721"/>
          <ac:graphicFrameMkLst>
            <pc:docMk/>
            <pc:sldMk cId="752674889" sldId="289"/>
            <ac:graphicFrameMk id="10" creationId="{C0C92CC4-9821-445B-8FC1-C7630CDC1D48}"/>
          </ac:graphicFrameMkLst>
        </pc:graphicFrameChg>
        <pc:picChg chg="mod">
          <ac:chgData name="Helena Laasjärvi" userId="147922e0-9e4e-413c-924b-93f8f61c2127" providerId="ADAL" clId="{BA0C2D75-0774-4E44-87B1-937A955C7469}" dt="2022-03-21T20:22:19.750" v="681" actId="14100"/>
          <ac:picMkLst>
            <pc:docMk/>
            <pc:sldMk cId="752674889" sldId="289"/>
            <ac:picMk id="26" creationId="{328AC4BB-AECD-47FE-B305-B95D452F1AE0}"/>
          </ac:picMkLst>
        </pc:picChg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4103225806" sldId="303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2567248277" sldId="304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4070654495" sldId="305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549404346" sldId="306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4123276159" sldId="307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1579759834" sldId="309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181953243" sldId="311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2657336914" sldId="312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588515560" sldId="313"/>
        </pc:sldMkLst>
      </pc:sldChg>
      <pc:sldChg chg="addSp delSp modSp mod">
        <pc:chgData name="Helena Laasjärvi" userId="147922e0-9e4e-413c-924b-93f8f61c2127" providerId="ADAL" clId="{BA0C2D75-0774-4E44-87B1-937A955C7469}" dt="2022-03-21T20:27:55.337" v="809"/>
        <pc:sldMkLst>
          <pc:docMk/>
          <pc:sldMk cId="181922694" sldId="314"/>
        </pc:sldMkLst>
        <pc:spChg chg="mod">
          <ac:chgData name="Helena Laasjärvi" userId="147922e0-9e4e-413c-924b-93f8f61c2127" providerId="ADAL" clId="{BA0C2D75-0774-4E44-87B1-937A955C7469}" dt="2022-03-21T20:27:55.275" v="768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19:51:36.914" v="41"/>
          <ac:spMkLst>
            <pc:docMk/>
            <pc:sldMk cId="181922694" sldId="314"/>
            <ac:spMk id="33" creationId="{81B3CD29-FA1B-4F2D-A246-F8B988B2B12A}"/>
          </ac:spMkLst>
        </pc:spChg>
        <pc:spChg chg="add del mod modVis">
          <ac:chgData name="Helena Laasjärvi" userId="147922e0-9e4e-413c-924b-93f8f61c2127" providerId="ADAL" clId="{BA0C2D75-0774-4E44-87B1-937A955C7469}" dt="2022-03-21T19:51:43.463" v="88"/>
          <ac:spMkLst>
            <pc:docMk/>
            <pc:sldMk cId="181922694" sldId="314"/>
            <ac:spMk id="34" creationId="{E7141AE4-86D7-4861-8100-E729F6102688}"/>
          </ac:spMkLst>
        </pc:spChg>
        <pc:spChg chg="add del mod modVis">
          <ac:chgData name="Helena Laasjärvi" userId="147922e0-9e4e-413c-924b-93f8f61c2127" providerId="ADAL" clId="{BA0C2D75-0774-4E44-87B1-937A955C7469}" dt="2022-03-21T19:51:44.623" v="132"/>
          <ac:spMkLst>
            <pc:docMk/>
            <pc:sldMk cId="181922694" sldId="314"/>
            <ac:spMk id="35" creationId="{E5DFF0E0-5AE5-4C4E-932D-9E1AADE44F9F}"/>
          </ac:spMkLst>
        </pc:spChg>
        <pc:spChg chg="add del mod modVis">
          <ac:chgData name="Helena Laasjärvi" userId="147922e0-9e4e-413c-924b-93f8f61c2127" providerId="ADAL" clId="{BA0C2D75-0774-4E44-87B1-937A955C7469}" dt="2022-03-21T19:51:49.749" v="198"/>
          <ac:spMkLst>
            <pc:docMk/>
            <pc:sldMk cId="181922694" sldId="314"/>
            <ac:spMk id="36" creationId="{CCF86482-B9FE-4949-B082-053FB1CE8EC3}"/>
          </ac:spMkLst>
        </pc:spChg>
        <pc:spChg chg="add del mod modVis">
          <ac:chgData name="Helena Laasjärvi" userId="147922e0-9e4e-413c-924b-93f8f61c2127" providerId="ADAL" clId="{BA0C2D75-0774-4E44-87B1-937A955C7469}" dt="2022-03-21T20:27:55.337" v="807"/>
          <ac:spMkLst>
            <pc:docMk/>
            <pc:sldMk cId="181922694" sldId="314"/>
            <ac:spMk id="37" creationId="{55039679-EBAD-4216-853C-D5FD3AAE55CE}"/>
          </ac:spMkLst>
        </pc:spChg>
        <pc:graphicFrameChg chg="mod">
          <ac:chgData name="Helena Laasjärvi" userId="147922e0-9e4e-413c-924b-93f8f61c2127" providerId="ADAL" clId="{BA0C2D75-0774-4E44-87B1-937A955C7469}" dt="2022-03-21T20:27:55.337" v="809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BA0C2D75-0774-4E44-87B1-937A955C7469}" dt="2022-03-21T19:53:30.426" v="208" actId="207"/>
          <ac:graphicFrameMkLst>
            <pc:docMk/>
            <pc:sldMk cId="181922694" sldId="314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724025729" sldId="315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3149145955" sldId="316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863750448" sldId="317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1594535289" sldId="319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2851854799" sldId="320"/>
        </pc:sldMkLst>
      </pc:sldChg>
      <pc:sldChg chg="addSp delSp modSp mod ord">
        <pc:chgData name="Helena Laasjärvi" userId="147922e0-9e4e-413c-924b-93f8f61c2127" providerId="ADAL" clId="{BA0C2D75-0774-4E44-87B1-937A955C7469}" dt="2022-03-21T20:27:23.250" v="764"/>
        <pc:sldMkLst>
          <pc:docMk/>
          <pc:sldMk cId="31896352" sldId="321"/>
        </pc:sldMkLst>
        <pc:spChg chg="mod">
          <ac:chgData name="Helena Laasjärvi" userId="147922e0-9e4e-413c-924b-93f8f61c2127" providerId="ADAL" clId="{BA0C2D75-0774-4E44-87B1-937A955C7469}" dt="2022-03-21T20:27:23.165" v="723" actId="948"/>
          <ac:spMkLst>
            <pc:docMk/>
            <pc:sldMk cId="31896352" sldId="321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20:11:36.647" v="546"/>
          <ac:spMkLst>
            <pc:docMk/>
            <pc:sldMk cId="31896352" sldId="321"/>
            <ac:spMk id="4" creationId="{0E08EE51-FBA8-41B5-8D89-22D26B0F2493}"/>
          </ac:spMkLst>
        </pc:spChg>
        <pc:spChg chg="add del mod modVis">
          <ac:chgData name="Helena Laasjärvi" userId="147922e0-9e4e-413c-924b-93f8f61c2127" providerId="ADAL" clId="{BA0C2D75-0774-4E44-87B1-937A955C7469}" dt="2022-03-21T20:27:23.250" v="762"/>
          <ac:spMkLst>
            <pc:docMk/>
            <pc:sldMk cId="31896352" sldId="321"/>
            <ac:spMk id="6" creationId="{6497A08B-C7D5-4679-85EC-0770267A3306}"/>
          </ac:spMkLst>
        </pc:spChg>
        <pc:spChg chg="add mod">
          <ac:chgData name="Helena Laasjärvi" userId="147922e0-9e4e-413c-924b-93f8f61c2127" providerId="ADAL" clId="{BA0C2D75-0774-4E44-87B1-937A955C7469}" dt="2022-03-21T20:12:23.364" v="554"/>
          <ac:spMkLst>
            <pc:docMk/>
            <pc:sldMk cId="31896352" sldId="321"/>
            <ac:spMk id="19" creationId="{3B5A2344-B829-41B0-9138-10FB1EE5FD99}"/>
          </ac:spMkLst>
        </pc:spChg>
        <pc:spChg chg="add mod">
          <ac:chgData name="Helena Laasjärvi" userId="147922e0-9e4e-413c-924b-93f8f61c2127" providerId="ADAL" clId="{BA0C2D75-0774-4E44-87B1-937A955C7469}" dt="2022-03-21T20:13:08.009" v="563" actId="14100"/>
          <ac:spMkLst>
            <pc:docMk/>
            <pc:sldMk cId="31896352" sldId="321"/>
            <ac:spMk id="20" creationId="{33F42C49-B5C3-48EE-9E77-398558F8C768}"/>
          </ac:spMkLst>
        </pc:spChg>
        <pc:spChg chg="mod">
          <ac:chgData name="Helena Laasjärvi" userId="147922e0-9e4e-413c-924b-93f8f61c2127" providerId="ADAL" clId="{BA0C2D75-0774-4E44-87B1-937A955C7469}" dt="2022-03-21T20:13:18.645" v="564"/>
          <ac:spMkLst>
            <pc:docMk/>
            <pc:sldMk cId="31896352" sldId="321"/>
            <ac:spMk id="22" creationId="{C9B1B633-AD48-4D3C-8CCD-7436A9F439E9}"/>
          </ac:spMkLst>
        </pc:spChg>
        <pc:spChg chg="mod">
          <ac:chgData name="Helena Laasjärvi" userId="147922e0-9e4e-413c-924b-93f8f61c2127" providerId="ADAL" clId="{BA0C2D75-0774-4E44-87B1-937A955C7469}" dt="2022-03-21T20:13:51.466" v="571" actId="20577"/>
          <ac:spMkLst>
            <pc:docMk/>
            <pc:sldMk cId="31896352" sldId="321"/>
            <ac:spMk id="23" creationId="{36608C9F-4863-45E8-9A76-00693A0368E5}"/>
          </ac:spMkLst>
        </pc:spChg>
        <pc:spChg chg="mod">
          <ac:chgData name="Helena Laasjärvi" userId="147922e0-9e4e-413c-924b-93f8f61c2127" providerId="ADAL" clId="{BA0C2D75-0774-4E44-87B1-937A955C7469}" dt="2022-03-21T20:14:45.797" v="579"/>
          <ac:spMkLst>
            <pc:docMk/>
            <pc:sldMk cId="31896352" sldId="321"/>
            <ac:spMk id="25" creationId="{B3E34E57-BD83-4070-B109-16995B8ADE4E}"/>
          </ac:spMkLst>
        </pc:spChg>
        <pc:spChg chg="mod">
          <ac:chgData name="Helena Laasjärvi" userId="147922e0-9e4e-413c-924b-93f8f61c2127" providerId="ADAL" clId="{BA0C2D75-0774-4E44-87B1-937A955C7469}" dt="2022-03-21T20:15:11.356" v="581"/>
          <ac:spMkLst>
            <pc:docMk/>
            <pc:sldMk cId="31896352" sldId="321"/>
            <ac:spMk id="26" creationId="{AAD562A7-54BD-41EE-975B-333F91CB9DB4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0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1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2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3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4" creationId="{00000000-0000-0000-0000-000000000000}"/>
          </ac:spMkLst>
        </pc:spChg>
        <pc:spChg chg="mod">
          <ac:chgData name="Helena Laasjärvi" userId="147922e0-9e4e-413c-924b-93f8f61c2127" providerId="ADAL" clId="{BA0C2D75-0774-4E44-87B1-937A955C7469}" dt="2022-03-21T20:15:24.543" v="583"/>
          <ac:spMkLst>
            <pc:docMk/>
            <pc:sldMk cId="31896352" sldId="321"/>
            <ac:spMk id="35" creationId="{1FC7D0D8-B8A2-48E9-9518-EA58EA150ABD}"/>
          </ac:spMkLst>
        </pc:spChg>
        <pc:spChg chg="mod">
          <ac:chgData name="Helena Laasjärvi" userId="147922e0-9e4e-413c-924b-93f8f61c2127" providerId="ADAL" clId="{BA0C2D75-0774-4E44-87B1-937A955C7469}" dt="2022-03-21T20:15:40.538" v="585"/>
          <ac:spMkLst>
            <pc:docMk/>
            <pc:sldMk cId="31896352" sldId="321"/>
            <ac:spMk id="37" creationId="{F18A58B7-7C21-47F4-BECE-7F9613A98C99}"/>
          </ac:spMkLst>
        </pc:spChg>
        <pc:spChg chg="del">
          <ac:chgData name="Helena Laasjärvi" userId="147922e0-9e4e-413c-924b-93f8f61c2127" providerId="ADAL" clId="{BA0C2D75-0774-4E44-87B1-937A955C7469}" dt="2022-03-21T20:11:46.545" v="551" actId="478"/>
          <ac:spMkLst>
            <pc:docMk/>
            <pc:sldMk cId="31896352" sldId="321"/>
            <ac:spMk id="48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4.879" v="550" actId="478"/>
          <ac:spMkLst>
            <pc:docMk/>
            <pc:sldMk cId="31896352" sldId="321"/>
            <ac:spMk id="49" creationId="{00000000-0000-0000-0000-000000000000}"/>
          </ac:spMkLst>
        </pc:spChg>
        <pc:grpChg chg="add mod">
          <ac:chgData name="Helena Laasjärvi" userId="147922e0-9e4e-413c-924b-93f8f61c2127" providerId="ADAL" clId="{BA0C2D75-0774-4E44-87B1-937A955C7469}" dt="2022-03-21T20:16:40.290" v="597" actId="1076"/>
          <ac:grpSpMkLst>
            <pc:docMk/>
            <pc:sldMk cId="31896352" sldId="321"/>
            <ac:grpSpMk id="18" creationId="{95BCAAE5-5C53-48E6-9FF6-4399AAABD4D1}"/>
          </ac:grpSpMkLst>
        </pc:grpChg>
        <pc:grpChg chg="add mod">
          <ac:chgData name="Helena Laasjärvi" userId="147922e0-9e4e-413c-924b-93f8f61c2127" providerId="ADAL" clId="{BA0C2D75-0774-4E44-87B1-937A955C7469}" dt="2022-03-21T20:17:03.484" v="600" actId="14100"/>
          <ac:grpSpMkLst>
            <pc:docMk/>
            <pc:sldMk cId="31896352" sldId="321"/>
            <ac:grpSpMk id="21" creationId="{A537BD05-EE9A-4640-BA4B-0BBF1A5E9A0C}"/>
          </ac:grpSpMkLst>
        </pc:grpChg>
        <pc:grpChg chg="add mod">
          <ac:chgData name="Helena Laasjärvi" userId="147922e0-9e4e-413c-924b-93f8f61c2127" providerId="ADAL" clId="{BA0C2D75-0774-4E44-87B1-937A955C7469}" dt="2022-03-21T20:17:07.332" v="601" actId="14100"/>
          <ac:grpSpMkLst>
            <pc:docMk/>
            <pc:sldMk cId="31896352" sldId="321"/>
            <ac:grpSpMk id="24" creationId="{7D86F2AA-F73B-44E6-AC9B-80FA049005C0}"/>
          </ac:grpSpMkLst>
        </pc:grpChg>
        <pc:grpChg chg="add mod">
          <ac:chgData name="Helena Laasjärvi" userId="147922e0-9e4e-413c-924b-93f8f61c2127" providerId="ADAL" clId="{BA0C2D75-0774-4E44-87B1-937A955C7469}" dt="2022-03-21T20:17:09.797" v="602" actId="14100"/>
          <ac:grpSpMkLst>
            <pc:docMk/>
            <pc:sldMk cId="31896352" sldId="321"/>
            <ac:grpSpMk id="27" creationId="{ECB1719E-F54E-4D20-A1F6-311B8011AFAD}"/>
          </ac:grpSpMkLst>
        </pc:grpChg>
        <pc:graphicFrameChg chg="mod">
          <ac:chgData name="Helena Laasjärvi" userId="147922e0-9e4e-413c-924b-93f8f61c2127" providerId="ADAL" clId="{BA0C2D75-0774-4E44-87B1-937A955C7469}" dt="2022-03-21T20:27:23.250" v="764"/>
          <ac:graphicFrameMkLst>
            <pc:docMk/>
            <pc:sldMk cId="31896352" sldId="321"/>
            <ac:graphicFrameMk id="3" creationId="{E23B38B6-C474-4478-B461-DDE3DD760AB1}"/>
          </ac:graphicFrameMkLst>
        </pc:graphicFrameChg>
        <pc:picChg chg="add mod">
          <ac:chgData name="Helena Laasjärvi" userId="147922e0-9e4e-413c-924b-93f8f61c2127" providerId="ADAL" clId="{BA0C2D75-0774-4E44-87B1-937A955C7469}" dt="2022-03-21T20:12:02.591" v="553" actId="1076"/>
          <ac:picMkLst>
            <pc:docMk/>
            <pc:sldMk cId="31896352" sldId="321"/>
            <ac:picMk id="5" creationId="{8FCC6E92-11BF-44FA-A81B-6B5F5BCC5EDD}"/>
          </ac:picMkLst>
        </pc:picChg>
        <pc:picChg chg="del">
          <ac:chgData name="Helena Laasjärvi" userId="147922e0-9e4e-413c-924b-93f8f61c2127" providerId="ADAL" clId="{BA0C2D75-0774-4E44-87B1-937A955C7469}" dt="2022-03-21T20:11:43.089" v="549" actId="478"/>
          <ac:picMkLst>
            <pc:docMk/>
            <pc:sldMk cId="31896352" sldId="321"/>
            <ac:picMk id="28" creationId="{00000000-0000-0000-0000-000000000000}"/>
          </ac:picMkLst>
        </pc:picChg>
        <pc:picChg chg="del">
          <ac:chgData name="Helena Laasjärvi" userId="147922e0-9e4e-413c-924b-93f8f61c2127" providerId="ADAL" clId="{BA0C2D75-0774-4E44-87B1-937A955C7469}" dt="2022-03-21T20:11:43.089" v="549" actId="478"/>
          <ac:picMkLst>
            <pc:docMk/>
            <pc:sldMk cId="31896352" sldId="321"/>
            <ac:picMk id="29" creationId="{00000000-0000-0000-0000-000000000000}"/>
          </ac:picMkLst>
        </pc:picChg>
        <pc:cxnChg chg="del">
          <ac:chgData name="Helena Laasjärvi" userId="147922e0-9e4e-413c-924b-93f8f61c2127" providerId="ADAL" clId="{BA0C2D75-0774-4E44-87B1-937A955C7469}" dt="2022-03-21T20:11:43.089" v="549" actId="478"/>
          <ac:cxnSpMkLst>
            <pc:docMk/>
            <pc:sldMk cId="31896352" sldId="321"/>
            <ac:cxnSpMk id="36" creationId="{00000000-0000-0000-0000-000000000000}"/>
          </ac:cxnSpMkLst>
        </pc:cxnChg>
        <pc:cxnChg chg="del">
          <ac:chgData name="Helena Laasjärvi" userId="147922e0-9e4e-413c-924b-93f8f61c2127" providerId="ADAL" clId="{BA0C2D75-0774-4E44-87B1-937A955C7469}" dt="2022-03-21T20:11:43.089" v="549" actId="478"/>
          <ac:cxnSpMkLst>
            <pc:docMk/>
            <pc:sldMk cId="31896352" sldId="321"/>
            <ac:cxnSpMk id="38" creationId="{00000000-0000-0000-0000-000000000000}"/>
          </ac:cxnSpMkLst>
        </pc:cxnChg>
        <pc:cxnChg chg="del">
          <ac:chgData name="Helena Laasjärvi" userId="147922e0-9e4e-413c-924b-93f8f61c2127" providerId="ADAL" clId="{BA0C2D75-0774-4E44-87B1-937A955C7469}" dt="2022-03-21T20:11:43.089" v="549" actId="478"/>
          <ac:cxnSpMkLst>
            <pc:docMk/>
            <pc:sldMk cId="31896352" sldId="321"/>
            <ac:cxnSpMk id="39" creationId="{00000000-0000-0000-0000-000000000000}"/>
          </ac:cxnSpMkLst>
        </pc:cxnChg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34063811" sldId="322"/>
        </pc:sldMkLst>
      </pc:sldChg>
      <pc:sldChg chg="addSp delSp modSp mod ord">
        <pc:chgData name="Helena Laasjärvi" userId="147922e0-9e4e-413c-924b-93f8f61c2127" providerId="ADAL" clId="{BA0C2D75-0774-4E44-87B1-937A955C7469}" dt="2022-03-21T20:10:52.440" v="501" actId="207"/>
        <pc:sldMkLst>
          <pc:docMk/>
          <pc:sldMk cId="2302383710" sldId="323"/>
        </pc:sldMkLst>
        <pc:spChg chg="mod">
          <ac:chgData name="Helena Laasjärvi" userId="147922e0-9e4e-413c-924b-93f8f61c2127" providerId="ADAL" clId="{BA0C2D75-0774-4E44-87B1-937A955C7469}" dt="2022-03-21T20:10:08.735" v="455" actId="948"/>
          <ac:spMkLst>
            <pc:docMk/>
            <pc:sldMk cId="2302383710" sldId="323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20:09:55.338" v="365"/>
          <ac:spMkLst>
            <pc:docMk/>
            <pc:sldMk cId="2302383710" sldId="323"/>
            <ac:spMk id="13" creationId="{478F402E-9EB8-4A4B-B5E9-4B458F269FC4}"/>
          </ac:spMkLst>
        </pc:spChg>
        <pc:spChg chg="add del mod modVis">
          <ac:chgData name="Helena Laasjärvi" userId="147922e0-9e4e-413c-924b-93f8f61c2127" providerId="ADAL" clId="{BA0C2D75-0774-4E44-87B1-937A955C7469}" dt="2022-03-21T20:10:02.003" v="408"/>
          <ac:spMkLst>
            <pc:docMk/>
            <pc:sldMk cId="2302383710" sldId="323"/>
            <ac:spMk id="14" creationId="{47F1468C-207F-4E6D-8AD0-BD3F37AB6515}"/>
          </ac:spMkLst>
        </pc:spChg>
        <pc:spChg chg="add del mod modVis">
          <ac:chgData name="Helena Laasjärvi" userId="147922e0-9e4e-413c-924b-93f8f61c2127" providerId="ADAL" clId="{BA0C2D75-0774-4E44-87B1-937A955C7469}" dt="2022-03-21T20:10:06.794" v="451"/>
          <ac:spMkLst>
            <pc:docMk/>
            <pc:sldMk cId="2302383710" sldId="323"/>
            <ac:spMk id="15" creationId="{5B7635BA-3BFF-4BBC-9E06-540E7502EF76}"/>
          </ac:spMkLst>
        </pc:spChg>
        <pc:spChg chg="add del mod modVis">
          <ac:chgData name="Helena Laasjärvi" userId="147922e0-9e4e-413c-924b-93f8f61c2127" providerId="ADAL" clId="{BA0C2D75-0774-4E44-87B1-937A955C7469}" dt="2022-03-21T20:10:08.804" v="494"/>
          <ac:spMkLst>
            <pc:docMk/>
            <pc:sldMk cId="2302383710" sldId="323"/>
            <ac:spMk id="16" creationId="{7B74244E-9D9D-4164-9125-9145D12E3207}"/>
          </ac:spMkLst>
        </pc:spChg>
        <pc:graphicFrameChg chg="mod">
          <ac:chgData name="Helena Laasjärvi" userId="147922e0-9e4e-413c-924b-93f8f61c2127" providerId="ADAL" clId="{BA0C2D75-0774-4E44-87B1-937A955C7469}" dt="2022-03-21T20:10:08.804" v="496"/>
          <ac:graphicFrameMkLst>
            <pc:docMk/>
            <pc:sldMk cId="2302383710" sldId="323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BA0C2D75-0774-4E44-87B1-937A955C7469}" dt="2022-03-21T20:10:52.440" v="501" actId="207"/>
          <ac:graphicFrameMkLst>
            <pc:docMk/>
            <pc:sldMk cId="2302383710" sldId="323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742727706" sldId="324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2673673509" sldId="325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450801208" sldId="326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1955026970" sldId="327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647569095" sldId="328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2303161499" sldId="329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4044381824" sldId="330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3929637336" sldId="331"/>
        </pc:sldMkLst>
      </pc:sldChg>
      <pc:sldChg chg="modSp del ord">
        <pc:chgData name="Helena Laasjärvi" userId="147922e0-9e4e-413c-924b-93f8f61c2127" providerId="ADAL" clId="{BA0C2D75-0774-4E44-87B1-937A955C7469}" dt="2022-03-21T20:28:50.586" v="810" actId="47"/>
        <pc:sldMkLst>
          <pc:docMk/>
          <pc:sldMk cId="2656244910" sldId="332"/>
        </pc:sldMkLst>
        <pc:graphicFrameChg chg="mod">
          <ac:chgData name="Helena Laasjärvi" userId="147922e0-9e4e-413c-924b-93f8f61c2127" providerId="ADAL" clId="{BA0C2D75-0774-4E44-87B1-937A955C7469}" dt="2022-03-21T20:05:00.134" v="284"/>
          <ac:graphicFrameMkLst>
            <pc:docMk/>
            <pc:sldMk cId="2656244910" sldId="332"/>
            <ac:graphicFrameMk id="9" creationId="{70F72556-3325-4E00-88F9-12228D5B81AC}"/>
          </ac:graphicFrameMkLst>
        </pc:graphicFrameChg>
      </pc:sldChg>
      <pc:sldChg chg="modSp mod ord">
        <pc:chgData name="Helena Laasjärvi" userId="147922e0-9e4e-413c-924b-93f8f61c2127" providerId="ADAL" clId="{BA0C2D75-0774-4E44-87B1-937A955C7469}" dt="2022-03-21T19:56:19.211" v="234" actId="14100"/>
        <pc:sldMkLst>
          <pc:docMk/>
          <pc:sldMk cId="3837540713" sldId="333"/>
        </pc:sldMkLst>
        <pc:spChg chg="mod">
          <ac:chgData name="Helena Laasjärvi" userId="147922e0-9e4e-413c-924b-93f8f61c2127" providerId="ADAL" clId="{BA0C2D75-0774-4E44-87B1-937A955C7469}" dt="2022-03-21T19:54:27.336" v="221"/>
          <ac:spMkLst>
            <pc:docMk/>
            <pc:sldMk cId="3837540713" sldId="333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19:56:19.211" v="234" actId="14100"/>
          <ac:graphicFrameMkLst>
            <pc:docMk/>
            <pc:sldMk cId="3837540713" sldId="333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BA0C2D75-0774-4E44-87B1-937A955C7469}" dt="2022-03-21T19:55:57.506" v="232" actId="14826"/>
          <ac:picMkLst>
            <pc:docMk/>
            <pc:sldMk cId="3837540713" sldId="333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4093303929" sldId="334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3060497981" sldId="335"/>
        </pc:sldMkLst>
      </pc:sldChg>
      <pc:sldChg chg="del ord">
        <pc:chgData name="Helena Laasjärvi" userId="147922e0-9e4e-413c-924b-93f8f61c2127" providerId="ADAL" clId="{BA0C2D75-0774-4E44-87B1-937A955C7469}" dt="2022-03-21T20:28:50.586" v="810" actId="47"/>
        <pc:sldMkLst>
          <pc:docMk/>
          <pc:sldMk cId="1273959850" sldId="336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1435096970" sldId="337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3401915877" sldId="338"/>
        </pc:sldMkLst>
      </pc:sldChg>
      <pc:sldChg chg="addSp modSp add mod">
        <pc:chgData name="Helena Laasjärvi" userId="147922e0-9e4e-413c-924b-93f8f61c2127" providerId="ADAL" clId="{BA0C2D75-0774-4E44-87B1-937A955C7469}" dt="2022-03-21T20:00:47.591" v="259" actId="14100"/>
        <pc:sldMkLst>
          <pc:docMk/>
          <pc:sldMk cId="2551821641" sldId="339"/>
        </pc:sldMkLst>
        <pc:spChg chg="mod">
          <ac:chgData name="Helena Laasjärvi" userId="147922e0-9e4e-413c-924b-93f8f61c2127" providerId="ADAL" clId="{BA0C2D75-0774-4E44-87B1-937A955C7469}" dt="2022-03-21T19:56:57.355" v="237"/>
          <ac:spMkLst>
            <pc:docMk/>
            <pc:sldMk cId="2551821641" sldId="339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20:00:24.417" v="255" actId="1076"/>
          <ac:graphicFrameMkLst>
            <pc:docMk/>
            <pc:sldMk cId="2551821641" sldId="339"/>
            <ac:graphicFrameMk id="8" creationId="{B936F7B1-E20A-3AF0-9D08-1FF576802789}"/>
          </ac:graphicFrameMkLst>
        </pc:graphicFrameChg>
        <pc:picChg chg="add mod">
          <ac:chgData name="Helena Laasjärvi" userId="147922e0-9e4e-413c-924b-93f8f61c2127" providerId="ADAL" clId="{BA0C2D75-0774-4E44-87B1-937A955C7469}" dt="2022-03-21T20:00:47.591" v="259" actId="14100"/>
          <ac:picMkLst>
            <pc:docMk/>
            <pc:sldMk cId="2551821641" sldId="339"/>
            <ac:picMk id="5" creationId="{EBD2302C-8A72-4F06-B641-0EE02D6068C2}"/>
          </ac:picMkLst>
        </pc:picChg>
        <pc:picChg chg="mod">
          <ac:chgData name="Helena Laasjärvi" userId="147922e0-9e4e-413c-924b-93f8f61c2127" providerId="ADAL" clId="{BA0C2D75-0774-4E44-87B1-937A955C7469}" dt="2022-03-21T20:00:30.540" v="256" actId="1076"/>
          <ac:picMkLst>
            <pc:docMk/>
            <pc:sldMk cId="2551821641" sldId="339"/>
            <ac:picMk id="6" creationId="{9D1B725A-9F7F-4A5F-A8A5-52289C013BBA}"/>
          </ac:picMkLst>
        </pc:picChg>
      </pc:sldChg>
      <pc:sldChg chg="addSp delSp modSp add mod">
        <pc:chgData name="Helena Laasjärvi" userId="147922e0-9e4e-413c-924b-93f8f61c2127" providerId="ADAL" clId="{BA0C2D75-0774-4E44-87B1-937A955C7469}" dt="2022-03-21T20:27:34.607" v="766" actId="1076"/>
        <pc:sldMkLst>
          <pc:docMk/>
          <pc:sldMk cId="2877642831" sldId="340"/>
        </pc:sldMkLst>
        <pc:spChg chg="mod">
          <ac:chgData name="Helena Laasjärvi" userId="147922e0-9e4e-413c-924b-93f8f61c2127" providerId="ADAL" clId="{BA0C2D75-0774-4E44-87B1-937A955C7469}" dt="2022-03-21T20:27:34.607" v="766" actId="1076"/>
          <ac:spMkLst>
            <pc:docMk/>
            <pc:sldMk cId="2877642831" sldId="340"/>
            <ac:spMk id="10" creationId="{0AA9639B-B7E2-44C5-9CA4-50187E024E5F}"/>
          </ac:spMkLst>
        </pc:spChg>
        <pc:spChg chg="add">
          <ac:chgData name="Helena Laasjärvi" userId="147922e0-9e4e-413c-924b-93f8f61c2127" providerId="ADAL" clId="{BA0C2D75-0774-4E44-87B1-937A955C7469}" dt="2022-03-21T20:04:07.265" v="281" actId="26606"/>
          <ac:spMkLst>
            <pc:docMk/>
            <pc:sldMk cId="2877642831" sldId="340"/>
            <ac:spMk id="15" creationId="{131BAD53-4E89-4F62-BBB7-26359763ED39}"/>
          </ac:spMkLst>
        </pc:spChg>
        <pc:spChg chg="add">
          <ac:chgData name="Helena Laasjärvi" userId="147922e0-9e4e-413c-924b-93f8f61c2127" providerId="ADAL" clId="{BA0C2D75-0774-4E44-87B1-937A955C7469}" dt="2022-03-21T20:04:07.265" v="281" actId="26606"/>
          <ac:spMkLst>
            <pc:docMk/>
            <pc:sldMk cId="2877642831" sldId="340"/>
            <ac:spMk id="17" creationId="{62756DA2-40EB-4C6F-B962-5822FFB54FB6}"/>
          </ac:spMkLst>
        </pc:spChg>
        <pc:graphicFrameChg chg="mod modGraphic">
          <ac:chgData name="Helena Laasjärvi" userId="147922e0-9e4e-413c-924b-93f8f61c2127" providerId="ADAL" clId="{BA0C2D75-0774-4E44-87B1-937A955C7469}" dt="2022-03-21T20:07:09.150" v="300" actId="207"/>
          <ac:graphicFrameMkLst>
            <pc:docMk/>
            <pc:sldMk cId="2877642831" sldId="340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BA0C2D75-0774-4E44-87B1-937A955C7469}" dt="2022-03-21T20:02:29.645" v="272" actId="478"/>
          <ac:picMkLst>
            <pc:docMk/>
            <pc:sldMk cId="2877642831" sldId="340"/>
            <ac:picMk id="5" creationId="{EBD2302C-8A72-4F06-B641-0EE02D6068C2}"/>
          </ac:picMkLst>
        </pc:picChg>
        <pc:picChg chg="del">
          <ac:chgData name="Helena Laasjärvi" userId="147922e0-9e4e-413c-924b-93f8f61c2127" providerId="ADAL" clId="{BA0C2D75-0774-4E44-87B1-937A955C7469}" dt="2022-03-21T20:02:28.640" v="271" actId="478"/>
          <ac:picMkLst>
            <pc:docMk/>
            <pc:sldMk cId="2877642831" sldId="340"/>
            <ac:picMk id="6" creationId="{9D1B725A-9F7F-4A5F-A8A5-52289C013BBA}"/>
          </ac:picMkLst>
        </pc:picChg>
        <pc:picChg chg="add mod ord">
          <ac:chgData name="Helena Laasjärvi" userId="147922e0-9e4e-413c-924b-93f8f61c2127" providerId="ADAL" clId="{BA0C2D75-0774-4E44-87B1-937A955C7469}" dt="2022-03-21T20:04:07.265" v="281" actId="26606"/>
          <ac:picMkLst>
            <pc:docMk/>
            <pc:sldMk cId="2877642831" sldId="340"/>
            <ac:picMk id="7" creationId="{88682EDC-89D4-4A9C-A2A6-BDAD52E6FF21}"/>
          </ac:picMkLst>
        </pc:picChg>
      </pc:sldChg>
      <pc:sldChg chg="modSp add mod ord">
        <pc:chgData name="Helena Laasjärvi" userId="147922e0-9e4e-413c-924b-93f8f61c2127" providerId="ADAL" clId="{BA0C2D75-0774-4E44-87B1-937A955C7469}" dt="2022-03-21T20:19:29.292" v="616" actId="1076"/>
        <pc:sldMkLst>
          <pc:docMk/>
          <pc:sldMk cId="1745881650" sldId="341"/>
        </pc:sldMkLst>
        <pc:spChg chg="mod">
          <ac:chgData name="Helena Laasjärvi" userId="147922e0-9e4e-413c-924b-93f8f61c2127" providerId="ADAL" clId="{BA0C2D75-0774-4E44-87B1-937A955C7469}" dt="2022-03-21T20:17:47.400" v="607"/>
          <ac:spMkLst>
            <pc:docMk/>
            <pc:sldMk cId="1745881650" sldId="341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20:19:29.292" v="616" actId="1076"/>
          <ac:graphicFrameMkLst>
            <pc:docMk/>
            <pc:sldMk cId="1745881650" sldId="341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BA0C2D75-0774-4E44-87B1-937A955C7469}" dt="2022-03-21T20:18:39.013" v="611" actId="14826"/>
          <ac:picMkLst>
            <pc:docMk/>
            <pc:sldMk cId="1745881650" sldId="341"/>
            <ac:picMk id="7" creationId="{88682EDC-89D4-4A9C-A2A6-BDAD52E6FF21}"/>
          </ac:picMkLst>
        </pc:picChg>
      </pc:sldChg>
      <pc:sldChg chg="delSp modSp add del mod ord">
        <pc:chgData name="Helena Laasjärvi" userId="147922e0-9e4e-413c-924b-93f8f61c2127" providerId="ADAL" clId="{BA0C2D75-0774-4E44-87B1-937A955C7469}" dt="2022-03-21T20:10:14.812" v="497" actId="2696"/>
        <pc:sldMkLst>
          <pc:docMk/>
          <pc:sldMk cId="2294671426" sldId="341"/>
        </pc:sldMkLst>
        <pc:spChg chg="mod">
          <ac:chgData name="Helena Laasjärvi" userId="147922e0-9e4e-413c-924b-93f8f61c2127" providerId="ADAL" clId="{BA0C2D75-0774-4E44-87B1-937A955C7469}" dt="2022-03-21T20:07:49.600" v="305"/>
          <ac:spMkLst>
            <pc:docMk/>
            <pc:sldMk cId="2294671426" sldId="341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20:09:11.535" v="315"/>
          <ac:graphicFrameMkLst>
            <pc:docMk/>
            <pc:sldMk cId="2294671426" sldId="341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BA0C2D75-0774-4E44-87B1-937A955C7469}" dt="2022-03-21T20:09:17.657" v="317" actId="478"/>
          <ac:picMkLst>
            <pc:docMk/>
            <pc:sldMk cId="2294671426" sldId="341"/>
            <ac:picMk id="5" creationId="{EBD2302C-8A72-4F06-B641-0EE02D6068C2}"/>
          </ac:picMkLst>
        </pc:picChg>
        <pc:picChg chg="del">
          <ac:chgData name="Helena Laasjärvi" userId="147922e0-9e4e-413c-924b-93f8f61c2127" providerId="ADAL" clId="{BA0C2D75-0774-4E44-87B1-937A955C7469}" dt="2022-03-21T20:09:16.833" v="316" actId="478"/>
          <ac:picMkLst>
            <pc:docMk/>
            <pc:sldMk cId="2294671426" sldId="341"/>
            <ac:picMk id="6" creationId="{9D1B725A-9F7F-4A5F-A8A5-52289C013BBA}"/>
          </ac:picMkLst>
        </pc:picChg>
      </pc:sldChg>
      <pc:sldChg chg="addSp delSp modSp add mod ord">
        <pc:chgData name="Helena Laasjärvi" userId="147922e0-9e4e-413c-924b-93f8f61c2127" providerId="ADAL" clId="{BA0C2D75-0774-4E44-87B1-937A955C7469}" dt="2022-03-21T20:26:49.986" v="717" actId="255"/>
        <pc:sldMkLst>
          <pc:docMk/>
          <pc:sldMk cId="1340546130" sldId="342"/>
        </pc:sldMkLst>
        <pc:spChg chg="mod">
          <ac:chgData name="Helena Laasjärvi" userId="147922e0-9e4e-413c-924b-93f8f61c2127" providerId="ADAL" clId="{BA0C2D75-0774-4E44-87B1-937A955C7469}" dt="2022-03-21T20:20:02.341" v="622" actId="948"/>
          <ac:spMkLst>
            <pc:docMk/>
            <pc:sldMk cId="1340546130" sldId="342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20:20:02.425" v="661"/>
          <ac:spMkLst>
            <pc:docMk/>
            <pc:sldMk cId="1340546130" sldId="342"/>
            <ac:spMk id="3" creationId="{20BB501A-E597-401A-B2BE-B4CB90CEFB69}"/>
          </ac:spMkLst>
        </pc:spChg>
        <pc:spChg chg="add mod">
          <ac:chgData name="Helena Laasjärvi" userId="147922e0-9e4e-413c-924b-93f8f61c2127" providerId="ADAL" clId="{BA0C2D75-0774-4E44-87B1-937A955C7469}" dt="2022-03-21T20:25:28.279" v="707" actId="1076"/>
          <ac:spMkLst>
            <pc:docMk/>
            <pc:sldMk cId="1340546130" sldId="342"/>
            <ac:spMk id="10" creationId="{A7077038-8B93-427F-8376-FF7C067A49C5}"/>
          </ac:spMkLst>
        </pc:spChg>
        <pc:grpChg chg="mod">
          <ac:chgData name="Helena Laasjärvi" userId="147922e0-9e4e-413c-924b-93f8f61c2127" providerId="ADAL" clId="{BA0C2D75-0774-4E44-87B1-937A955C7469}" dt="2022-03-21T20:19:52.802" v="618"/>
          <ac:grpSpMkLst>
            <pc:docMk/>
            <pc:sldMk cId="1340546130" sldId="342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BA0C2D75-0774-4E44-87B1-937A955C7469}" dt="2022-03-21T20:20:02.431" v="663"/>
          <ac:graphicFrameMkLst>
            <pc:docMk/>
            <pc:sldMk cId="1340546130" sldId="342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BA0C2D75-0774-4E44-87B1-937A955C7469}" dt="2022-03-21T20:26:49.986" v="717" actId="255"/>
          <ac:graphicFrameMkLst>
            <pc:docMk/>
            <pc:sldMk cId="1340546130" sldId="342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BA0C2D75-0774-4E44-87B1-937A955C7469}" dt="2022-03-21T20:19:52.802" v="618"/>
          <ac:picMkLst>
            <pc:docMk/>
            <pc:sldMk cId="1340546130" sldId="342"/>
            <ac:picMk id="4" creationId="{CF47ABF3-D808-437C-99C9-B7CE14174BFD}"/>
          </ac:picMkLst>
        </pc:picChg>
        <pc:picChg chg="add mod">
          <ac:chgData name="Helena Laasjärvi" userId="147922e0-9e4e-413c-924b-93f8f61c2127" providerId="ADAL" clId="{BA0C2D75-0774-4E44-87B1-937A955C7469}" dt="2022-03-21T20:23:57.911" v="691" actId="1076"/>
          <ac:picMkLst>
            <pc:docMk/>
            <pc:sldMk cId="1340546130" sldId="342"/>
            <ac:picMk id="7" creationId="{87AFEE6D-3997-40CF-B472-736E88DE41E0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 custT="1"/>
      <dgm:spPr>
        <a:solidFill>
          <a:srgbClr val="EC008C"/>
        </a:solidFill>
      </dgm:spPr>
      <dgm:t>
        <a:bodyPr/>
        <a:lstStyle/>
        <a:p>
          <a:r>
            <a:rPr lang="fi-FI" sz="2800" dirty="0"/>
            <a:t>Jakautuvat solut ovat yksi elämän tunnuspiirteistä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0C4617CA-DEA3-4392-B77D-A2F5BBF1C0B5}">
      <dgm:prSet custT="1"/>
      <dgm:spPr/>
      <dgm:t>
        <a:bodyPr/>
        <a:lstStyle/>
        <a:p>
          <a:r>
            <a:rPr lang="fi-FI" sz="2400" dirty="0"/>
            <a:t>yksilö kasvaa</a:t>
          </a:r>
        </a:p>
      </dgm:t>
    </dgm:pt>
    <dgm:pt modelId="{3F2C835F-E691-4AFE-A29B-08878F9B9236}" type="parTrans" cxnId="{BB609F36-2BDA-4E6A-8DD3-B266F03FE8BB}">
      <dgm:prSet/>
      <dgm:spPr/>
      <dgm:t>
        <a:bodyPr/>
        <a:lstStyle/>
        <a:p>
          <a:endParaRPr lang="fi-FI"/>
        </a:p>
      </dgm:t>
    </dgm:pt>
    <dgm:pt modelId="{5E64F2C6-22D0-4E71-8D27-7CC6E948043A}" type="sibTrans" cxnId="{BB609F36-2BDA-4E6A-8DD3-B266F03FE8BB}">
      <dgm:prSet/>
      <dgm:spPr/>
      <dgm:t>
        <a:bodyPr/>
        <a:lstStyle/>
        <a:p>
          <a:endParaRPr lang="fi-FI"/>
        </a:p>
      </dgm:t>
    </dgm:pt>
    <dgm:pt modelId="{103FF6F0-A21E-4549-884C-5161F1A08444}">
      <dgm:prSet custT="1"/>
      <dgm:spPr/>
      <dgm:t>
        <a:bodyPr/>
        <a:lstStyle/>
        <a:p>
          <a:r>
            <a:rPr lang="fi-FI" sz="2400" dirty="0"/>
            <a:t>vanhat solut korvautuvat uusilla</a:t>
          </a:r>
          <a:endParaRPr lang="fi-FI" sz="2400" dirty="0">
            <a:cs typeface="Calibri"/>
          </a:endParaRPr>
        </a:p>
      </dgm:t>
    </dgm:pt>
    <dgm:pt modelId="{BDDD47DC-E488-495E-96FA-8BE545336627}" type="parTrans" cxnId="{BE9EFF61-FAC9-40B2-8CBC-C2D5D8EAA953}">
      <dgm:prSet/>
      <dgm:spPr/>
      <dgm:t>
        <a:bodyPr/>
        <a:lstStyle/>
        <a:p>
          <a:endParaRPr lang="fi-FI"/>
        </a:p>
      </dgm:t>
    </dgm:pt>
    <dgm:pt modelId="{FF5CC0DF-7B2E-4EFB-9BB8-C24BBB7A72E1}" type="sibTrans" cxnId="{BE9EFF61-FAC9-40B2-8CBC-C2D5D8EAA953}">
      <dgm:prSet/>
      <dgm:spPr/>
      <dgm:t>
        <a:bodyPr/>
        <a:lstStyle/>
        <a:p>
          <a:endParaRPr lang="fi-FI"/>
        </a:p>
      </dgm:t>
    </dgm:pt>
    <dgm:pt modelId="{1AE7A87C-4E7F-438B-8DA6-C1F592F3F1CA}">
      <dgm:prSet custT="1"/>
      <dgm:spPr/>
      <dgm:t>
        <a:bodyPr/>
        <a:lstStyle/>
        <a:p>
          <a:r>
            <a:rPr lang="fi-FI" sz="2400" dirty="0"/>
            <a:t>syntyy emosolun kaltainen tytärsolu</a:t>
          </a:r>
        </a:p>
      </dgm:t>
    </dgm:pt>
    <dgm:pt modelId="{9CD365DB-5684-44EB-ABF0-7832FDB912EA}" type="parTrans" cxnId="{1BB8ECDB-3532-4D6D-9634-E840DE1F077C}">
      <dgm:prSet/>
      <dgm:spPr/>
      <dgm:t>
        <a:bodyPr/>
        <a:lstStyle/>
        <a:p>
          <a:endParaRPr lang="fi-FI"/>
        </a:p>
      </dgm:t>
    </dgm:pt>
    <dgm:pt modelId="{24640208-9C4B-4EC5-8CC9-375A1AFFAF55}" type="sibTrans" cxnId="{1BB8ECDB-3532-4D6D-9634-E840DE1F077C}">
      <dgm:prSet/>
      <dgm:spPr/>
      <dgm:t>
        <a:bodyPr/>
        <a:lstStyle/>
        <a:p>
          <a:endParaRPr lang="fi-FI"/>
        </a:p>
      </dgm:t>
    </dgm:pt>
    <dgm:pt modelId="{29914E1D-C159-4B9A-BAC9-DD8953E2BA69}">
      <dgm:prSet custT="1"/>
      <dgm:spPr>
        <a:solidFill>
          <a:srgbClr val="F27CB1"/>
        </a:solidFill>
      </dgm:spPr>
      <dgm:t>
        <a:bodyPr/>
        <a:lstStyle/>
        <a:p>
          <a:r>
            <a:rPr lang="fi-FI" sz="2800" dirty="0"/>
            <a:t>Solujen jakautuessa</a:t>
          </a:r>
        </a:p>
      </dgm:t>
    </dgm:pt>
    <dgm:pt modelId="{E440B468-F534-45EE-ACB1-8D368CC8DD8A}" type="parTrans" cxnId="{295E1F02-8433-466C-B3EA-69CC5E891355}">
      <dgm:prSet/>
      <dgm:spPr/>
      <dgm:t>
        <a:bodyPr/>
        <a:lstStyle/>
        <a:p>
          <a:endParaRPr lang="fi-FI"/>
        </a:p>
      </dgm:t>
    </dgm:pt>
    <dgm:pt modelId="{7F7E417E-0148-4C16-B2CC-7DD60AB944E6}" type="sibTrans" cxnId="{295E1F02-8433-466C-B3EA-69CC5E891355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4D5486F3-260E-4982-840C-D7BE98C81631}" type="pres">
      <dgm:prSet presAssocID="{0E1C6016-7DEB-4E2F-9797-C18C672777F4}" presName="spacer" presStyleCnt="0"/>
      <dgm:spPr/>
    </dgm:pt>
    <dgm:pt modelId="{DCC5FB86-1936-400D-B1D5-1AACF01901D7}" type="pres">
      <dgm:prSet presAssocID="{29914E1D-C159-4B9A-BAC9-DD8953E2BA6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85A5D33E-643F-4A77-B677-36661B6DEB83}" type="pres">
      <dgm:prSet presAssocID="{29914E1D-C159-4B9A-BAC9-DD8953E2BA6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95E1F02-8433-466C-B3EA-69CC5E891355}" srcId="{2DD9BEDF-B9E2-4ABA-A056-FFA32216D3C8}" destId="{29914E1D-C159-4B9A-BAC9-DD8953E2BA69}" srcOrd="1" destOrd="0" parTransId="{E440B468-F534-45EE-ACB1-8D368CC8DD8A}" sibTransId="{7F7E417E-0148-4C16-B2CC-7DD60AB944E6}"/>
    <dgm:cxn modelId="{19F98530-4147-443C-9699-33442DC8F9C9}" type="presOf" srcId="{103FF6F0-A21E-4549-884C-5161F1A08444}" destId="{85A5D33E-643F-4A77-B677-36661B6DEB83}" srcOrd="0" destOrd="1" presId="urn:microsoft.com/office/officeart/2005/8/layout/vList2"/>
    <dgm:cxn modelId="{BB609F36-2BDA-4E6A-8DD3-B266F03FE8BB}" srcId="{29914E1D-C159-4B9A-BAC9-DD8953E2BA69}" destId="{0C4617CA-DEA3-4392-B77D-A2F5BBF1C0B5}" srcOrd="0" destOrd="0" parTransId="{3F2C835F-E691-4AFE-A29B-08878F9B9236}" sibTransId="{5E64F2C6-22D0-4E71-8D27-7CC6E948043A}"/>
    <dgm:cxn modelId="{BE9EFF61-FAC9-40B2-8CBC-C2D5D8EAA953}" srcId="{29914E1D-C159-4B9A-BAC9-DD8953E2BA69}" destId="{103FF6F0-A21E-4549-884C-5161F1A08444}" srcOrd="1" destOrd="0" parTransId="{BDDD47DC-E488-495E-96FA-8BE545336627}" sibTransId="{FF5CC0DF-7B2E-4EFB-9BB8-C24BBB7A72E1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28674FB1-F7BA-47A0-9055-414DCF869073}" type="presOf" srcId="{1AE7A87C-4E7F-438B-8DA6-C1F592F3F1CA}" destId="{85A5D33E-643F-4A77-B677-36661B6DEB83}" srcOrd="0" destOrd="2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25CDE6D1-D842-4277-931E-49BCCDC10B4C}" type="presOf" srcId="{29914E1D-C159-4B9A-BAC9-DD8953E2BA69}" destId="{DCC5FB86-1936-400D-B1D5-1AACF01901D7}" srcOrd="0" destOrd="0" presId="urn:microsoft.com/office/officeart/2005/8/layout/vList2"/>
    <dgm:cxn modelId="{1BB8ECDB-3532-4D6D-9634-E840DE1F077C}" srcId="{29914E1D-C159-4B9A-BAC9-DD8953E2BA69}" destId="{1AE7A87C-4E7F-438B-8DA6-C1F592F3F1CA}" srcOrd="2" destOrd="0" parTransId="{9CD365DB-5684-44EB-ABF0-7832FDB912EA}" sibTransId="{24640208-9C4B-4EC5-8CC9-375A1AFFAF55}"/>
    <dgm:cxn modelId="{CBC65EFF-4350-4B81-9C35-AC6C642FD5AA}" type="presOf" srcId="{0C4617CA-DEA3-4392-B77D-A2F5BBF1C0B5}" destId="{85A5D33E-643F-4A77-B677-36661B6DEB83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5F7A5906-3604-4227-8236-59027070F132}" type="presParOf" srcId="{2A2F781F-16C1-4D29-B08D-ACB557B90863}" destId="{4D5486F3-260E-4982-840C-D7BE98C81631}" srcOrd="1" destOrd="0" presId="urn:microsoft.com/office/officeart/2005/8/layout/vList2"/>
    <dgm:cxn modelId="{AE1FF39F-434A-4864-84F4-5965425B8D39}" type="presParOf" srcId="{2A2F781F-16C1-4D29-B08D-ACB557B90863}" destId="{DCC5FB86-1936-400D-B1D5-1AACF01901D7}" srcOrd="2" destOrd="0" presId="urn:microsoft.com/office/officeart/2005/8/layout/vList2"/>
    <dgm:cxn modelId="{914D294B-6FB9-4F7A-84E7-EE21332E2E8B}" type="presParOf" srcId="{2A2F781F-16C1-4D29-B08D-ACB557B90863}" destId="{85A5D33E-643F-4A77-B677-36661B6DEB83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Eri soluilla eri elämänkierron vaiheet ovat eri pituisi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Välivaihe on solun toiminnan aktiivisinta aikaa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9C3DB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/>
            <a:t>Jakautumisvaiheessa tapahtuu</a:t>
          </a:r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F0F9AED4-B451-4630-9BC8-C1356E362BB6}">
      <dgm:prSet/>
      <dgm:spPr/>
      <dgm:t>
        <a:bodyPr/>
        <a:lstStyle/>
        <a:p>
          <a:r>
            <a:rPr lang="fi-FI"/>
            <a:t>solu kasvaa</a:t>
          </a:r>
          <a:endParaRPr lang="fi-FI" dirty="0"/>
        </a:p>
      </dgm:t>
    </dgm:pt>
    <dgm:pt modelId="{53F46392-E91D-4496-BDD0-C63B83A0040A}" type="parTrans" cxnId="{521D069A-0743-4ED9-A17B-1D6990F4D74A}">
      <dgm:prSet/>
      <dgm:spPr/>
      <dgm:t>
        <a:bodyPr/>
        <a:lstStyle/>
        <a:p>
          <a:endParaRPr lang="fi-FI"/>
        </a:p>
      </dgm:t>
    </dgm:pt>
    <dgm:pt modelId="{175F18FA-E0EB-4040-B1F0-2898DE0872EB}" type="sibTrans" cxnId="{521D069A-0743-4ED9-A17B-1D6990F4D74A}">
      <dgm:prSet/>
      <dgm:spPr/>
      <dgm:t>
        <a:bodyPr/>
        <a:lstStyle/>
        <a:p>
          <a:endParaRPr lang="fi-FI"/>
        </a:p>
      </dgm:t>
    </dgm:pt>
    <dgm:pt modelId="{9474C314-4DA5-487A-9338-AF7C83337BDB}">
      <dgm:prSet/>
      <dgm:spPr/>
      <dgm:t>
        <a:bodyPr/>
        <a:lstStyle/>
        <a:p>
          <a:r>
            <a:rPr lang="fi-FI" dirty="0"/>
            <a:t>solu tuottaa proteiineja</a:t>
          </a:r>
        </a:p>
      </dgm:t>
    </dgm:pt>
    <dgm:pt modelId="{9680DE05-A6BE-410B-BF6A-FB8B620EA0EA}" type="parTrans" cxnId="{3FCE3A14-11D3-4196-AAEB-44CDFCDFEC33}">
      <dgm:prSet/>
      <dgm:spPr/>
      <dgm:t>
        <a:bodyPr/>
        <a:lstStyle/>
        <a:p>
          <a:endParaRPr lang="fi-FI"/>
        </a:p>
      </dgm:t>
    </dgm:pt>
    <dgm:pt modelId="{908CADEE-EEEC-451C-BEDA-EFEDE9B156A9}" type="sibTrans" cxnId="{3FCE3A14-11D3-4196-AAEB-44CDFCDFEC33}">
      <dgm:prSet/>
      <dgm:spPr/>
      <dgm:t>
        <a:bodyPr/>
        <a:lstStyle/>
        <a:p>
          <a:endParaRPr lang="fi-FI"/>
        </a:p>
      </dgm:t>
    </dgm:pt>
    <dgm:pt modelId="{36FB2068-FD41-4718-990F-6918635F05A3}">
      <dgm:prSet/>
      <dgm:spPr/>
      <dgm:t>
        <a:bodyPr/>
        <a:lstStyle/>
        <a:p>
          <a:r>
            <a:rPr lang="fi-FI"/>
            <a:t>solun soluelimet lisääntyvät</a:t>
          </a:r>
          <a:endParaRPr lang="fi-FI" dirty="0"/>
        </a:p>
      </dgm:t>
    </dgm:pt>
    <dgm:pt modelId="{17E62E8C-8FEF-4E5B-9D09-6E23BF22CBA5}" type="parTrans" cxnId="{AE644B9E-AF17-4078-9B71-23DF9F2076CC}">
      <dgm:prSet/>
      <dgm:spPr/>
      <dgm:t>
        <a:bodyPr/>
        <a:lstStyle/>
        <a:p>
          <a:endParaRPr lang="fi-FI"/>
        </a:p>
      </dgm:t>
    </dgm:pt>
    <dgm:pt modelId="{C1E9EDE1-4804-4589-B3DA-E329D3B55921}" type="sibTrans" cxnId="{AE644B9E-AF17-4078-9B71-23DF9F2076CC}">
      <dgm:prSet/>
      <dgm:spPr/>
      <dgm:t>
        <a:bodyPr/>
        <a:lstStyle/>
        <a:p>
          <a:endParaRPr lang="fi-FI"/>
        </a:p>
      </dgm:t>
    </dgm:pt>
    <dgm:pt modelId="{B5217563-73D9-4195-ACC5-375AA8D5E5BD}">
      <dgm:prSet/>
      <dgm:spPr/>
      <dgm:t>
        <a:bodyPr/>
        <a:lstStyle/>
        <a:p>
          <a:r>
            <a:rPr lang="fi-FI" dirty="0"/>
            <a:t>yleensä suurin osa solun elämästä on välivaihetta</a:t>
          </a:r>
        </a:p>
      </dgm:t>
    </dgm:pt>
    <dgm:pt modelId="{5E950354-C522-45F3-9160-8C3A9E3B18C1}" type="parTrans" cxnId="{D4228064-4BE4-4A79-A779-73C1E6754CA7}">
      <dgm:prSet/>
      <dgm:spPr/>
      <dgm:t>
        <a:bodyPr/>
        <a:lstStyle/>
        <a:p>
          <a:endParaRPr lang="fi-FI"/>
        </a:p>
      </dgm:t>
    </dgm:pt>
    <dgm:pt modelId="{0F1563C3-3874-4F66-B16A-48AC1241729F}" type="sibTrans" cxnId="{D4228064-4BE4-4A79-A779-73C1E6754CA7}">
      <dgm:prSet/>
      <dgm:spPr/>
      <dgm:t>
        <a:bodyPr/>
        <a:lstStyle/>
        <a:p>
          <a:endParaRPr lang="fi-FI"/>
        </a:p>
      </dgm:t>
    </dgm:pt>
    <dgm:pt modelId="{389AE0D5-CCB2-461C-B68C-42F293D3BB97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mitoosi eli tumanjakautuminen</a:t>
          </a:r>
          <a:endParaRPr lang="fi-FI" dirty="0"/>
        </a:p>
      </dgm:t>
    </dgm:pt>
    <dgm:pt modelId="{BE856BF9-D88F-4365-8E4D-7111D4AEE6AF}" type="parTrans" cxnId="{D39694BF-FF8A-443B-88EC-ECECE0C89A35}">
      <dgm:prSet/>
      <dgm:spPr/>
      <dgm:t>
        <a:bodyPr/>
        <a:lstStyle/>
        <a:p>
          <a:endParaRPr lang="fi-FI"/>
        </a:p>
      </dgm:t>
    </dgm:pt>
    <dgm:pt modelId="{91D19813-4021-4484-AAF8-27C3D83463B1}" type="sibTrans" cxnId="{D39694BF-FF8A-443B-88EC-ECECE0C89A35}">
      <dgm:prSet/>
      <dgm:spPr/>
      <dgm:t>
        <a:bodyPr/>
        <a:lstStyle/>
        <a:p>
          <a:endParaRPr lang="fi-FI"/>
        </a:p>
      </dgm:t>
    </dgm:pt>
    <dgm:pt modelId="{A8231AE5-0AED-417B-8420-DF23B5FEB1C7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soluliman jakautuminen</a:t>
          </a:r>
          <a:endParaRPr lang="fi-FI" dirty="0"/>
        </a:p>
      </dgm:t>
    </dgm:pt>
    <dgm:pt modelId="{53D31C74-4163-4844-83B0-9E6A8FB25AA9}" type="parTrans" cxnId="{040F47D1-7878-4321-99C5-D8AFDAC2F053}">
      <dgm:prSet/>
      <dgm:spPr/>
      <dgm:t>
        <a:bodyPr/>
        <a:lstStyle/>
        <a:p>
          <a:endParaRPr lang="fi-FI"/>
        </a:p>
      </dgm:t>
    </dgm:pt>
    <dgm:pt modelId="{FEBE4ADC-8116-4577-B757-449E79A8C087}" type="sibTrans" cxnId="{040F47D1-7878-4321-99C5-D8AFDAC2F053}">
      <dgm:prSet/>
      <dgm:spPr/>
      <dgm:t>
        <a:bodyPr/>
        <a:lstStyle/>
        <a:p>
          <a:endParaRPr lang="fi-FI"/>
        </a:p>
      </dgm:t>
    </dgm:pt>
    <dgm:pt modelId="{FC7BFCB5-C5C7-4C8E-8F34-31E2A6C15B38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 dirty="0"/>
            <a:t>yhdestä emosolusta syntyy kaksi perimältään identtistä tytärsolua</a:t>
          </a:r>
        </a:p>
      </dgm:t>
    </dgm:pt>
    <dgm:pt modelId="{7B97B666-5668-4CC3-8041-F7E5833BE94B}" type="parTrans" cxnId="{F7863DE7-7473-4FFB-90CF-53E69CDA015B}">
      <dgm:prSet/>
      <dgm:spPr/>
      <dgm:t>
        <a:bodyPr/>
        <a:lstStyle/>
        <a:p>
          <a:endParaRPr lang="fi-FI"/>
        </a:p>
      </dgm:t>
    </dgm:pt>
    <dgm:pt modelId="{82E32EE4-3B1D-4296-9123-86AB347C5F27}" type="sibTrans" cxnId="{F7863DE7-7473-4FFB-90CF-53E69CDA015B}">
      <dgm:prSet/>
      <dgm:spPr/>
      <dgm:t>
        <a:bodyPr/>
        <a:lstStyle/>
        <a:p>
          <a:endParaRPr lang="fi-FI"/>
        </a:p>
      </dgm:t>
    </dgm:pt>
    <dgm:pt modelId="{A08BA5B8-9C4F-47A9-9B86-B7BC1ED48715}">
      <dgm:prSet/>
      <dgm:spPr/>
      <dgm:t>
        <a:bodyPr/>
        <a:lstStyle/>
        <a:p>
          <a:endParaRPr lang="fi-FI" dirty="0"/>
        </a:p>
      </dgm:t>
    </dgm:pt>
    <dgm:pt modelId="{37D00D8B-8D68-4986-A8F5-6877BF07D21C}" type="parTrans" cxnId="{5C29F485-469E-4DA2-8EC9-776EFB27679E}">
      <dgm:prSet/>
      <dgm:spPr/>
      <dgm:t>
        <a:bodyPr/>
        <a:lstStyle/>
        <a:p>
          <a:endParaRPr lang="fi-FI"/>
        </a:p>
      </dgm:t>
    </dgm:pt>
    <dgm:pt modelId="{022A0486-1D2C-487F-91DB-50EC66B8596D}" type="sibTrans" cxnId="{5C29F485-469E-4DA2-8EC9-776EFB27679E}">
      <dgm:prSet/>
      <dgm:spPr/>
      <dgm:t>
        <a:bodyPr/>
        <a:lstStyle/>
        <a:p>
          <a:endParaRPr lang="fi-FI"/>
        </a:p>
      </dgm:t>
    </dgm:pt>
    <dgm:pt modelId="{72D63C22-DEF8-46BE-B065-0AA8DCFB6D86}">
      <dgm:prSet/>
      <dgm:spPr/>
      <dgm:t>
        <a:bodyPr/>
        <a:lstStyle/>
        <a:p>
          <a:pPr>
            <a:buFont typeface="Arial" charset="0"/>
            <a:buChar char="•"/>
          </a:pPr>
          <a:endParaRPr lang="fi-FI" dirty="0"/>
        </a:p>
      </dgm:t>
    </dgm:pt>
    <dgm:pt modelId="{AFDA7352-96A2-4E01-89CA-252CC34C7DDF}" type="parTrans" cxnId="{FE9B39C9-4787-4639-A086-80DF8CCEF3A4}">
      <dgm:prSet/>
      <dgm:spPr/>
      <dgm:t>
        <a:bodyPr/>
        <a:lstStyle/>
        <a:p>
          <a:endParaRPr lang="fi-FI"/>
        </a:p>
      </dgm:t>
    </dgm:pt>
    <dgm:pt modelId="{DEB8B380-600E-4E34-B672-7C2329D60F93}" type="sibTrans" cxnId="{FE9B39C9-4787-4639-A086-80DF8CCEF3A4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2644E296-F578-45B8-8A54-6632C8CE62E1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FE7E7118-4C51-4671-8D4C-197F2855AD51}" type="pres">
      <dgm:prSet presAssocID="{909AA532-506D-4606-B4AA-A6C6B568EE38}" presName="childText" presStyleLbl="revTx" presStyleIdx="0" presStyleCnt="2">
        <dgm:presLayoutVars>
          <dgm:bulletEnabled val="1"/>
        </dgm:presLayoutVars>
      </dgm:prSet>
      <dgm:spPr/>
    </dgm:pt>
    <dgm:pt modelId="{BE92AD39-0414-4147-8835-B4B9C1A6BBEB}" type="pres">
      <dgm:prSet presAssocID="{84F9C0A8-C2D1-4864-85C6-3B384E21C88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F1735B7-10AE-4438-8296-CDAEED5049ED}" type="pres">
      <dgm:prSet presAssocID="{84F9C0A8-C2D1-4864-85C6-3B384E21C88D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87ABF00D-9E6E-4DE8-96EE-3FE26E373606}" type="presOf" srcId="{9474C314-4DA5-487A-9338-AF7C83337BDB}" destId="{FE7E7118-4C51-4671-8D4C-197F2855AD51}" srcOrd="0" destOrd="1" presId="urn:microsoft.com/office/officeart/2005/8/layout/vList2"/>
    <dgm:cxn modelId="{3FCE3A14-11D3-4196-AAEB-44CDFCDFEC33}" srcId="{909AA532-506D-4606-B4AA-A6C6B568EE38}" destId="{9474C314-4DA5-487A-9338-AF7C83337BDB}" srcOrd="1" destOrd="0" parTransId="{9680DE05-A6BE-410B-BF6A-FB8B620EA0EA}" sibTransId="{908CADEE-EEEC-451C-BEDA-EFEDE9B156A9}"/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D4228064-4BE4-4A79-A779-73C1E6754CA7}" srcId="{909AA532-506D-4606-B4AA-A6C6B568EE38}" destId="{B5217563-73D9-4195-ACC5-375AA8D5E5BD}" srcOrd="3" destOrd="0" parTransId="{5E950354-C522-45F3-9160-8C3A9E3B18C1}" sibTransId="{0F1563C3-3874-4F66-B16A-48AC1241729F}"/>
    <dgm:cxn modelId="{FAA6DB49-E212-40B7-84FE-0E5FBC8C6A1F}" type="presOf" srcId="{36FB2068-FD41-4718-990F-6918635F05A3}" destId="{FE7E7118-4C51-4671-8D4C-197F2855AD51}" srcOrd="0" destOrd="2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5C29F485-469E-4DA2-8EC9-776EFB27679E}" srcId="{909AA532-506D-4606-B4AA-A6C6B568EE38}" destId="{A08BA5B8-9C4F-47A9-9B86-B7BC1ED48715}" srcOrd="4" destOrd="0" parTransId="{37D00D8B-8D68-4986-A8F5-6877BF07D21C}" sibTransId="{022A0486-1D2C-487F-91DB-50EC66B8596D}"/>
    <dgm:cxn modelId="{FE8AED88-2D39-4B13-877C-B6002A6081C4}" type="presOf" srcId="{FC7BFCB5-C5C7-4C8E-8F34-31E2A6C15B38}" destId="{FF1735B7-10AE-4438-8296-CDAEED5049ED}" srcOrd="0" destOrd="2" presId="urn:microsoft.com/office/officeart/2005/8/layout/vList2"/>
    <dgm:cxn modelId="{521D069A-0743-4ED9-A17B-1D6990F4D74A}" srcId="{909AA532-506D-4606-B4AA-A6C6B568EE38}" destId="{F0F9AED4-B451-4630-9BC8-C1356E362BB6}" srcOrd="0" destOrd="0" parTransId="{53F46392-E91D-4496-BDD0-C63B83A0040A}" sibTransId="{175F18FA-E0EB-4040-B1F0-2898DE0872EB}"/>
    <dgm:cxn modelId="{AE644B9E-AF17-4078-9B71-23DF9F2076CC}" srcId="{909AA532-506D-4606-B4AA-A6C6B568EE38}" destId="{36FB2068-FD41-4718-990F-6918635F05A3}" srcOrd="2" destOrd="0" parTransId="{17E62E8C-8FEF-4E5B-9D09-6E23BF22CBA5}" sibTransId="{C1E9EDE1-4804-4589-B3DA-E329D3B55921}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4EC93CB0-AAF0-4951-8DBC-E6EC956C3138}" type="presOf" srcId="{A8231AE5-0AED-417B-8420-DF23B5FEB1C7}" destId="{FF1735B7-10AE-4438-8296-CDAEED5049ED}" srcOrd="0" destOrd="1" presId="urn:microsoft.com/office/officeart/2005/8/layout/vList2"/>
    <dgm:cxn modelId="{CCC332B5-D0FF-4EBB-AF30-A1EB363E2EA5}" type="presOf" srcId="{72D63C22-DEF8-46BE-B065-0AA8DCFB6D86}" destId="{FF1735B7-10AE-4438-8296-CDAEED5049ED}" srcOrd="0" destOrd="3" presId="urn:microsoft.com/office/officeart/2005/8/layout/vList2"/>
    <dgm:cxn modelId="{81A6CCBD-C27B-4056-9683-7C4E871F6CBA}" type="presOf" srcId="{B5217563-73D9-4195-ACC5-375AA8D5E5BD}" destId="{FE7E7118-4C51-4671-8D4C-197F2855AD51}" srcOrd="0" destOrd="3" presId="urn:microsoft.com/office/officeart/2005/8/layout/vList2"/>
    <dgm:cxn modelId="{D39694BF-FF8A-443B-88EC-ECECE0C89A35}" srcId="{84F9C0A8-C2D1-4864-85C6-3B384E21C88D}" destId="{389AE0D5-CCB2-461C-B68C-42F293D3BB97}" srcOrd="0" destOrd="0" parTransId="{BE856BF9-D88F-4365-8E4D-7111D4AEE6AF}" sibTransId="{91D19813-4021-4484-AAF8-27C3D83463B1}"/>
    <dgm:cxn modelId="{FE9B39C9-4787-4639-A086-80DF8CCEF3A4}" srcId="{84F9C0A8-C2D1-4864-85C6-3B384E21C88D}" destId="{72D63C22-DEF8-46BE-B065-0AA8DCFB6D86}" srcOrd="3" destOrd="0" parTransId="{AFDA7352-96A2-4E01-89CA-252CC34C7DDF}" sibTransId="{DEB8B380-600E-4E34-B672-7C2329D60F93}"/>
    <dgm:cxn modelId="{040F47D1-7878-4321-99C5-D8AFDAC2F053}" srcId="{84F9C0A8-C2D1-4864-85C6-3B384E21C88D}" destId="{A8231AE5-0AED-417B-8420-DF23B5FEB1C7}" srcOrd="1" destOrd="0" parTransId="{53D31C74-4163-4844-83B0-9E6A8FB25AA9}" sibTransId="{FEBE4ADC-8116-4577-B757-449E79A8C087}"/>
    <dgm:cxn modelId="{F345C6DF-1921-462C-A493-E4FAFA3FC747}" type="presOf" srcId="{A08BA5B8-9C4F-47A9-9B86-B7BC1ED48715}" destId="{FE7E7118-4C51-4671-8D4C-197F2855AD51}" srcOrd="0" destOrd="4" presId="urn:microsoft.com/office/officeart/2005/8/layout/vList2"/>
    <dgm:cxn modelId="{0FC0A0E6-D98B-4976-BFA2-CDB1C4649F72}" type="presOf" srcId="{389AE0D5-CCB2-461C-B68C-42F293D3BB97}" destId="{FF1735B7-10AE-4438-8296-CDAEED5049ED}" srcOrd="0" destOrd="0" presId="urn:microsoft.com/office/officeart/2005/8/layout/vList2"/>
    <dgm:cxn modelId="{F7863DE7-7473-4FFB-90CF-53E69CDA015B}" srcId="{84F9C0A8-C2D1-4864-85C6-3B384E21C88D}" destId="{FC7BFCB5-C5C7-4C8E-8F34-31E2A6C15B38}" srcOrd="2" destOrd="0" parTransId="{7B97B666-5668-4CC3-8041-F7E5833BE94B}" sibTransId="{82E32EE4-3B1D-4296-9123-86AB347C5F27}"/>
    <dgm:cxn modelId="{6F92CFF3-BD75-4A79-901D-CE4294141848}" type="presOf" srcId="{F0F9AED4-B451-4630-9BC8-C1356E362BB6}" destId="{FE7E7118-4C51-4671-8D4C-197F2855AD51}" srcOrd="0" destOrd="0" presId="urn:microsoft.com/office/officeart/2005/8/layout/vList2"/>
    <dgm:cxn modelId="{E7E6C3F5-A5B5-4730-96F5-7FBA34FAA6D2}" type="presOf" srcId="{84F9C0A8-C2D1-4864-85C6-3B384E21C88D}" destId="{BE92AD39-0414-4147-8835-B4B9C1A6BBEB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0F087415-8901-4023-BBD3-E2FABFEB48F2}" type="presParOf" srcId="{C98BB3D8-F1F9-4980-A813-50F0C2AEBD98}" destId="{2644E296-F578-45B8-8A54-6632C8CE62E1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6DD31173-46CB-4084-AFB2-F17B2CE835D4}" type="presParOf" srcId="{C98BB3D8-F1F9-4980-A813-50F0C2AEBD98}" destId="{FE7E7118-4C51-4671-8D4C-197F2855AD51}" srcOrd="3" destOrd="0" presId="urn:microsoft.com/office/officeart/2005/8/layout/vList2"/>
    <dgm:cxn modelId="{AFE372D8-9338-4E43-BD02-78877E84AB77}" type="presParOf" srcId="{C98BB3D8-F1F9-4980-A813-50F0C2AEBD98}" destId="{BE92AD39-0414-4147-8835-B4B9C1A6BBEB}" srcOrd="4" destOrd="0" presId="urn:microsoft.com/office/officeart/2005/8/layout/vList2"/>
    <dgm:cxn modelId="{4CCA6E87-B571-47CC-951D-64DDE887D9EC}" type="presParOf" srcId="{C98BB3D8-F1F9-4980-A813-50F0C2AEBD98}" destId="{FF1735B7-10AE-4438-8296-CDAEED5049ED}" srcOrd="5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/>
            <a:t>DNA kahdentuu eli tapahtuu replikaatio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/>
            <a:t>perinnöllinen informaatio siirtyy muuttumattomana solusukupolvelta toiselle</a:t>
          </a:r>
          <a:endParaRPr lang="fi-FI" dirty="0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9C3DB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/>
            <a:t>DNA:n kahdentuessa molempien DNA-juosteiden viereen rakentuu uusi juoste</a:t>
          </a:r>
          <a:endParaRPr lang="fi-FI" dirty="0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C4C255FF-92FF-471B-8D3B-53C98439C937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Uudet juosteet rakentaa DNA-polymeraasientsyymi</a:t>
          </a:r>
          <a:endParaRPr lang="fi-FI" dirty="0"/>
        </a:p>
      </dgm:t>
    </dgm:pt>
    <dgm:pt modelId="{31F8BD86-9C51-4247-B422-249F8667B8BF}" type="parTrans" cxnId="{E6BB5888-64EF-4691-ADD1-7CDE7026A54F}">
      <dgm:prSet/>
      <dgm:spPr/>
      <dgm:t>
        <a:bodyPr/>
        <a:lstStyle/>
        <a:p>
          <a:endParaRPr lang="fi-FI"/>
        </a:p>
      </dgm:t>
    </dgm:pt>
    <dgm:pt modelId="{B3ADA062-0E5B-4D66-A341-C9A77756A97F}" type="sibTrans" cxnId="{E6BB5888-64EF-4691-ADD1-7CDE7026A54F}">
      <dgm:prSet/>
      <dgm:spPr/>
      <dgm:t>
        <a:bodyPr/>
        <a:lstStyle/>
        <a:p>
          <a:endParaRPr lang="fi-FI"/>
        </a:p>
      </dgm:t>
    </dgm:pt>
    <dgm:pt modelId="{806B53B0-BF57-4D87-87F4-29546905DCD0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Uudet juosteet rakentuvat emäspariperiaatteen mukaan</a:t>
          </a:r>
          <a:endParaRPr lang="fi-FI" dirty="0"/>
        </a:p>
      </dgm:t>
    </dgm:pt>
    <dgm:pt modelId="{C5DA9319-0A72-45DD-92DF-FE3889E64D0E}" type="parTrans" cxnId="{DB4B0999-B9FD-47A5-931E-786B2D6EEAEF}">
      <dgm:prSet/>
      <dgm:spPr/>
      <dgm:t>
        <a:bodyPr/>
        <a:lstStyle/>
        <a:p>
          <a:endParaRPr lang="fi-FI"/>
        </a:p>
      </dgm:t>
    </dgm:pt>
    <dgm:pt modelId="{44D33080-4CA3-453B-A10A-8EF805B2FF7F}" type="sibTrans" cxnId="{DB4B0999-B9FD-47A5-931E-786B2D6EEAEF}">
      <dgm:prSet/>
      <dgm:spPr/>
      <dgm:t>
        <a:bodyPr/>
        <a:lstStyle/>
        <a:p>
          <a:endParaRPr lang="fi-FI"/>
        </a:p>
      </dgm:t>
    </dgm:pt>
    <dgm:pt modelId="{FBF243D7-56FC-4A2F-982F-77BC47835100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>
              <a:cs typeface="Calibri" panose="020F0502020204030204"/>
            </a:rPr>
            <a:t>Kahdentumisessa tarvitaan useita entsyymejä</a:t>
          </a:r>
          <a:endParaRPr lang="fi-FI" dirty="0">
            <a:cs typeface="Calibri" panose="020F0502020204030204"/>
          </a:endParaRPr>
        </a:p>
      </dgm:t>
    </dgm:pt>
    <dgm:pt modelId="{003F466B-541B-4677-8322-F3C33177E0B8}" type="parTrans" cxnId="{90CFD206-3B33-47FD-8170-F511C1FA4FAC}">
      <dgm:prSet/>
      <dgm:spPr/>
      <dgm:t>
        <a:bodyPr/>
        <a:lstStyle/>
        <a:p>
          <a:endParaRPr lang="fi-FI"/>
        </a:p>
      </dgm:t>
    </dgm:pt>
    <dgm:pt modelId="{ABB90BEB-1D02-44EE-9476-AC6C6AA37A3B}" type="sibTrans" cxnId="{90CFD206-3B33-47FD-8170-F511C1FA4FAC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2644E296-F578-45B8-8A54-6632C8CE62E1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76F983A-C06A-497B-BB0C-4112B1AF4AB7}" type="pres">
      <dgm:prSet presAssocID="{3752F3AD-DF89-4911-B284-6E754B9C35DA}" presName="spacer" presStyleCnt="0"/>
      <dgm:spPr/>
    </dgm:pt>
    <dgm:pt modelId="{BE92AD39-0414-4147-8835-B4B9C1A6BBEB}" type="pres">
      <dgm:prSet presAssocID="{84F9C0A8-C2D1-4864-85C6-3B384E21C88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F1735B7-10AE-4438-8296-CDAEED5049ED}" type="pres">
      <dgm:prSet presAssocID="{84F9C0A8-C2D1-4864-85C6-3B384E21C88D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90CFD206-3B33-47FD-8170-F511C1FA4FAC}" srcId="{84F9C0A8-C2D1-4864-85C6-3B384E21C88D}" destId="{FBF243D7-56FC-4A2F-982F-77BC47835100}" srcOrd="2" destOrd="0" parTransId="{003F466B-541B-4677-8322-F3C33177E0B8}" sibTransId="{ABB90BEB-1D02-44EE-9476-AC6C6AA37A3B}"/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E6BB5888-64EF-4691-ADD1-7CDE7026A54F}" srcId="{84F9C0A8-C2D1-4864-85C6-3B384E21C88D}" destId="{C4C255FF-92FF-471B-8D3B-53C98439C937}" srcOrd="0" destOrd="0" parTransId="{31F8BD86-9C51-4247-B422-249F8667B8BF}" sibTransId="{B3ADA062-0E5B-4D66-A341-C9A77756A97F}"/>
    <dgm:cxn modelId="{DB4B0999-B9FD-47A5-931E-786B2D6EEAEF}" srcId="{84F9C0A8-C2D1-4864-85C6-3B384E21C88D}" destId="{806B53B0-BF57-4D87-87F4-29546905DCD0}" srcOrd="1" destOrd="0" parTransId="{C5DA9319-0A72-45DD-92DF-FE3889E64D0E}" sibTransId="{44D33080-4CA3-453B-A10A-8EF805B2FF7F}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E4806ACC-AEA1-472D-A93C-855DBE23568B}" type="presOf" srcId="{C4C255FF-92FF-471B-8D3B-53C98439C937}" destId="{FF1735B7-10AE-4438-8296-CDAEED5049ED}" srcOrd="0" destOrd="0" presId="urn:microsoft.com/office/officeart/2005/8/layout/vList2"/>
    <dgm:cxn modelId="{BD2B51D4-B47F-4E45-B528-C8E4410937AE}" type="presOf" srcId="{806B53B0-BF57-4D87-87F4-29546905DCD0}" destId="{FF1735B7-10AE-4438-8296-CDAEED5049ED}" srcOrd="0" destOrd="1" presId="urn:microsoft.com/office/officeart/2005/8/layout/vList2"/>
    <dgm:cxn modelId="{A8E54FE1-3D62-4D1D-B9FE-BD9E679753CC}" type="presOf" srcId="{FBF243D7-56FC-4A2F-982F-77BC47835100}" destId="{FF1735B7-10AE-4438-8296-CDAEED5049ED}" srcOrd="0" destOrd="2" presId="urn:microsoft.com/office/officeart/2005/8/layout/vList2"/>
    <dgm:cxn modelId="{E7E6C3F5-A5B5-4730-96F5-7FBA34FAA6D2}" type="presOf" srcId="{84F9C0A8-C2D1-4864-85C6-3B384E21C88D}" destId="{BE92AD39-0414-4147-8835-B4B9C1A6BBEB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0F087415-8901-4023-BBD3-E2FABFEB48F2}" type="presParOf" srcId="{C98BB3D8-F1F9-4980-A813-50F0C2AEBD98}" destId="{2644E296-F578-45B8-8A54-6632C8CE62E1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99D73BF1-F76E-4FC5-AD36-7B130A265C43}" type="presParOf" srcId="{C98BB3D8-F1F9-4980-A813-50F0C2AEBD98}" destId="{976F983A-C06A-497B-BB0C-4112B1AF4AB7}" srcOrd="3" destOrd="0" presId="urn:microsoft.com/office/officeart/2005/8/layout/vList2"/>
    <dgm:cxn modelId="{AFE372D8-9338-4E43-BD02-78877E84AB77}" type="presParOf" srcId="{C98BB3D8-F1F9-4980-A813-50F0C2AEBD98}" destId="{BE92AD39-0414-4147-8835-B4B9C1A6BBEB}" srcOrd="4" destOrd="0" presId="urn:microsoft.com/office/officeart/2005/8/layout/vList2"/>
    <dgm:cxn modelId="{4CCA6E87-B571-47CC-951D-64DDE887D9EC}" type="presParOf" srcId="{C98BB3D8-F1F9-4980-A813-50F0C2AEBD98}" destId="{FF1735B7-10AE-4438-8296-CDAEED5049ED}" srcOrd="5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Process5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1. Kahdentumisen alkaessa </a:t>
          </a:r>
          <a:r>
            <a:rPr lang="fi-FI" dirty="0" err="1">
              <a:cs typeface="Calibri"/>
            </a:rPr>
            <a:t>helikaasientsyymi</a:t>
          </a:r>
          <a:r>
            <a:rPr lang="fi-FI" dirty="0">
              <a:cs typeface="Calibri"/>
            </a:rPr>
            <a:t> avaa kaksoisjuosteen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06AA7"/>
        </a:solidFill>
      </dgm:spPr>
      <dgm:t>
        <a:bodyPr/>
        <a:lstStyle/>
        <a:p>
          <a:r>
            <a:rPr lang="fi-FI" dirty="0">
              <a:cs typeface="Calibri"/>
            </a:rPr>
            <a:t>2. DNA-polymeraasi kiinnittää </a:t>
          </a:r>
          <a:r>
            <a:rPr lang="fi-FI" dirty="0" err="1">
              <a:cs typeface="Calibri"/>
            </a:rPr>
            <a:t>nukleotideja</a:t>
          </a:r>
          <a:r>
            <a:rPr lang="fi-FI" dirty="0">
              <a:cs typeface="Calibri"/>
            </a:rPr>
            <a:t> emäspariperiaatteen mukaan juosteiden viereen.</a:t>
          </a:r>
          <a:endParaRPr lang="fi-FI" dirty="0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27CB1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>
              <a:cs typeface="Calibri"/>
            </a:rPr>
            <a:t>3. Toimiakseen DNA-polymeraasi tarvitsee RNA-alukkeen</a:t>
          </a:r>
          <a:endParaRPr lang="fi-FI" dirty="0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B24D0500-F20B-4154-AB78-9D8876D7245C}">
      <dgm:prSet/>
      <dgm:spPr>
        <a:solidFill>
          <a:srgbClr val="F599C3"/>
        </a:solidFill>
      </dgm:spPr>
      <dgm:t>
        <a:bodyPr/>
        <a:lstStyle/>
        <a:p>
          <a:r>
            <a:rPr lang="fi-FI" dirty="0">
              <a:cs typeface="Calibri"/>
            </a:rPr>
            <a:t>4. Toinen juosteista rakentuu paloina ja DNA-polymeraasi tarvitsee useita alukkeita.</a:t>
          </a:r>
          <a:endParaRPr lang="fi-FI" dirty="0"/>
        </a:p>
      </dgm:t>
    </dgm:pt>
    <dgm:pt modelId="{A5EBAA77-8BE8-4667-A127-98505118398F}" type="parTrans" cxnId="{5FA6EA9D-97B8-4106-95C2-DDC0DD6738F7}">
      <dgm:prSet/>
      <dgm:spPr/>
      <dgm:t>
        <a:bodyPr/>
        <a:lstStyle/>
        <a:p>
          <a:endParaRPr lang="fi-FI"/>
        </a:p>
      </dgm:t>
    </dgm:pt>
    <dgm:pt modelId="{CA7832D2-2110-409B-975C-EA1681C0E7E9}" type="sibTrans" cxnId="{5FA6EA9D-97B8-4106-95C2-DDC0DD6738F7}">
      <dgm:prSet/>
      <dgm:spPr/>
      <dgm:t>
        <a:bodyPr/>
        <a:lstStyle/>
        <a:p>
          <a:endParaRPr lang="fi-FI"/>
        </a:p>
      </dgm:t>
    </dgm:pt>
    <dgm:pt modelId="{3BF42CFD-9828-4408-9306-EEAE53761D4A}">
      <dgm:prSet/>
      <dgm:spPr>
        <a:solidFill>
          <a:srgbClr val="F9C3DB"/>
        </a:solidFill>
      </dgm:spPr>
      <dgm:t>
        <a:bodyPr/>
        <a:lstStyle/>
        <a:p>
          <a:r>
            <a:rPr lang="fi-FI" dirty="0">
              <a:cs typeface="Calibri"/>
            </a:rPr>
            <a:t>5. Liittäjäentsyymi liittää palat yhteen</a:t>
          </a:r>
          <a:endParaRPr lang="fi-FI" dirty="0"/>
        </a:p>
      </dgm:t>
    </dgm:pt>
    <dgm:pt modelId="{BAF5EF37-CD12-4B4E-A308-96193BC7C202}" type="parTrans" cxnId="{F9453EDA-0B12-4D55-97E3-C00FDD7BE7EC}">
      <dgm:prSet/>
      <dgm:spPr/>
      <dgm:t>
        <a:bodyPr/>
        <a:lstStyle/>
        <a:p>
          <a:endParaRPr lang="fi-FI"/>
        </a:p>
      </dgm:t>
    </dgm:pt>
    <dgm:pt modelId="{5443D414-EDAD-40D1-BD18-58543BC609C6}" type="sibTrans" cxnId="{F9453EDA-0B12-4D55-97E3-C00FDD7BE7EC}">
      <dgm:prSet/>
      <dgm:spPr/>
      <dgm:t>
        <a:bodyPr/>
        <a:lstStyle/>
        <a:p>
          <a:endParaRPr lang="fi-FI"/>
        </a:p>
      </dgm:t>
    </dgm:pt>
    <dgm:pt modelId="{75BC19D4-4A54-48E3-AF5F-D590C9D0AABA}" type="pres">
      <dgm:prSet presAssocID="{005063B7-85D1-441D-87C6-864638207FCC}" presName="outerComposite" presStyleCnt="0">
        <dgm:presLayoutVars>
          <dgm:chMax val="5"/>
          <dgm:dir/>
          <dgm:resizeHandles val="exact"/>
        </dgm:presLayoutVars>
      </dgm:prSet>
      <dgm:spPr/>
    </dgm:pt>
    <dgm:pt modelId="{70FA58E5-3DB1-4815-8C2E-7EB53DFDC229}" type="pres">
      <dgm:prSet presAssocID="{005063B7-85D1-441D-87C6-864638207FCC}" presName="dummyMaxCanvas" presStyleCnt="0">
        <dgm:presLayoutVars/>
      </dgm:prSet>
      <dgm:spPr/>
    </dgm:pt>
    <dgm:pt modelId="{C864316C-A1AF-4559-BE8C-7BAD0A52C348}" type="pres">
      <dgm:prSet presAssocID="{005063B7-85D1-441D-87C6-864638207FCC}" presName="FiveNodes_1" presStyleLbl="node1" presStyleIdx="0" presStyleCnt="5">
        <dgm:presLayoutVars>
          <dgm:bulletEnabled val="1"/>
        </dgm:presLayoutVars>
      </dgm:prSet>
      <dgm:spPr/>
    </dgm:pt>
    <dgm:pt modelId="{C6561706-8017-476D-B5AC-6B672A802971}" type="pres">
      <dgm:prSet presAssocID="{005063B7-85D1-441D-87C6-864638207FCC}" presName="FiveNodes_2" presStyleLbl="node1" presStyleIdx="1" presStyleCnt="5">
        <dgm:presLayoutVars>
          <dgm:bulletEnabled val="1"/>
        </dgm:presLayoutVars>
      </dgm:prSet>
      <dgm:spPr/>
    </dgm:pt>
    <dgm:pt modelId="{7D3F52FF-D70C-4D91-BBE9-D30FCB0BA85A}" type="pres">
      <dgm:prSet presAssocID="{005063B7-85D1-441D-87C6-864638207FCC}" presName="FiveNodes_3" presStyleLbl="node1" presStyleIdx="2" presStyleCnt="5">
        <dgm:presLayoutVars>
          <dgm:bulletEnabled val="1"/>
        </dgm:presLayoutVars>
      </dgm:prSet>
      <dgm:spPr/>
    </dgm:pt>
    <dgm:pt modelId="{3859C007-451E-4D3D-9B26-4073FB1DF25B}" type="pres">
      <dgm:prSet presAssocID="{005063B7-85D1-441D-87C6-864638207FCC}" presName="FiveNodes_4" presStyleLbl="node1" presStyleIdx="3" presStyleCnt="5">
        <dgm:presLayoutVars>
          <dgm:bulletEnabled val="1"/>
        </dgm:presLayoutVars>
      </dgm:prSet>
      <dgm:spPr/>
    </dgm:pt>
    <dgm:pt modelId="{682D0C80-BA1F-4212-B47B-6617A2EF9D69}" type="pres">
      <dgm:prSet presAssocID="{005063B7-85D1-441D-87C6-864638207FCC}" presName="FiveNodes_5" presStyleLbl="node1" presStyleIdx="4" presStyleCnt="5">
        <dgm:presLayoutVars>
          <dgm:bulletEnabled val="1"/>
        </dgm:presLayoutVars>
      </dgm:prSet>
      <dgm:spPr/>
    </dgm:pt>
    <dgm:pt modelId="{ED864F53-A76F-4A4A-AD80-030E3595402C}" type="pres">
      <dgm:prSet presAssocID="{005063B7-85D1-441D-87C6-864638207FCC}" presName="FiveConn_1-2" presStyleLbl="fgAccFollowNode1" presStyleIdx="0" presStyleCnt="4">
        <dgm:presLayoutVars>
          <dgm:bulletEnabled val="1"/>
        </dgm:presLayoutVars>
      </dgm:prSet>
      <dgm:spPr/>
    </dgm:pt>
    <dgm:pt modelId="{433AAC31-0EA8-4393-9DD0-0A54212A7A4F}" type="pres">
      <dgm:prSet presAssocID="{005063B7-85D1-441D-87C6-864638207FCC}" presName="FiveConn_2-3" presStyleLbl="fgAccFollowNode1" presStyleIdx="1" presStyleCnt="4">
        <dgm:presLayoutVars>
          <dgm:bulletEnabled val="1"/>
        </dgm:presLayoutVars>
      </dgm:prSet>
      <dgm:spPr/>
    </dgm:pt>
    <dgm:pt modelId="{33D0F394-C6FA-4064-B5B6-55B705A6596A}" type="pres">
      <dgm:prSet presAssocID="{005063B7-85D1-441D-87C6-864638207FCC}" presName="FiveConn_3-4" presStyleLbl="fgAccFollowNode1" presStyleIdx="2" presStyleCnt="4">
        <dgm:presLayoutVars>
          <dgm:bulletEnabled val="1"/>
        </dgm:presLayoutVars>
      </dgm:prSet>
      <dgm:spPr/>
    </dgm:pt>
    <dgm:pt modelId="{A7B0F30A-B6DA-4473-98B8-EB02AC47E5B5}" type="pres">
      <dgm:prSet presAssocID="{005063B7-85D1-441D-87C6-864638207FCC}" presName="FiveConn_4-5" presStyleLbl="fgAccFollowNode1" presStyleIdx="3" presStyleCnt="4">
        <dgm:presLayoutVars>
          <dgm:bulletEnabled val="1"/>
        </dgm:presLayoutVars>
      </dgm:prSet>
      <dgm:spPr/>
    </dgm:pt>
    <dgm:pt modelId="{4AA2C478-9EB8-4ABB-80F5-2F4F349013CE}" type="pres">
      <dgm:prSet presAssocID="{005063B7-85D1-441D-87C6-864638207FCC}" presName="FiveNodes_1_text" presStyleLbl="node1" presStyleIdx="4" presStyleCnt="5">
        <dgm:presLayoutVars>
          <dgm:bulletEnabled val="1"/>
        </dgm:presLayoutVars>
      </dgm:prSet>
      <dgm:spPr/>
    </dgm:pt>
    <dgm:pt modelId="{A9A8A5B4-A9AF-4C59-BE9C-5C60CE8369DB}" type="pres">
      <dgm:prSet presAssocID="{005063B7-85D1-441D-87C6-864638207FCC}" presName="FiveNodes_2_text" presStyleLbl="node1" presStyleIdx="4" presStyleCnt="5">
        <dgm:presLayoutVars>
          <dgm:bulletEnabled val="1"/>
        </dgm:presLayoutVars>
      </dgm:prSet>
      <dgm:spPr/>
    </dgm:pt>
    <dgm:pt modelId="{E7A15FD2-C846-441A-816A-3B1F2356502F}" type="pres">
      <dgm:prSet presAssocID="{005063B7-85D1-441D-87C6-864638207FCC}" presName="FiveNodes_3_text" presStyleLbl="node1" presStyleIdx="4" presStyleCnt="5">
        <dgm:presLayoutVars>
          <dgm:bulletEnabled val="1"/>
        </dgm:presLayoutVars>
      </dgm:prSet>
      <dgm:spPr/>
    </dgm:pt>
    <dgm:pt modelId="{B3B1054E-72AC-43AD-AB8E-D7F5A356F0C5}" type="pres">
      <dgm:prSet presAssocID="{005063B7-85D1-441D-87C6-864638207FCC}" presName="FiveNodes_4_text" presStyleLbl="node1" presStyleIdx="4" presStyleCnt="5">
        <dgm:presLayoutVars>
          <dgm:bulletEnabled val="1"/>
        </dgm:presLayoutVars>
      </dgm:prSet>
      <dgm:spPr/>
    </dgm:pt>
    <dgm:pt modelId="{D8125DBC-1860-4393-AF86-CEAB42D3B2B2}" type="pres">
      <dgm:prSet presAssocID="{005063B7-85D1-441D-87C6-864638207FCC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00C84400-B720-496C-A230-93D3CB4EA516}" type="presOf" srcId="{84F9C0A8-C2D1-4864-85C6-3B384E21C88D}" destId="{7D3F52FF-D70C-4D91-BBE9-D30FCB0BA85A}" srcOrd="0" destOrd="0" presId="urn:microsoft.com/office/officeart/2005/8/layout/vProcess5"/>
    <dgm:cxn modelId="{EE385803-65C5-4E5E-8F39-17E0A8BA6D1B}" type="presOf" srcId="{B24D0500-F20B-4154-AB78-9D8876D7245C}" destId="{B3B1054E-72AC-43AD-AB8E-D7F5A356F0C5}" srcOrd="1" destOrd="0" presId="urn:microsoft.com/office/officeart/2005/8/layout/vProcess5"/>
    <dgm:cxn modelId="{14C6001A-06E4-4B02-AA08-8D55E407215C}" type="presOf" srcId="{84F9C0A8-C2D1-4864-85C6-3B384E21C88D}" destId="{E7A15FD2-C846-441A-816A-3B1F2356502F}" srcOrd="1" destOrd="0" presId="urn:microsoft.com/office/officeart/2005/8/layout/vProcess5"/>
    <dgm:cxn modelId="{FF4FD623-5648-4D78-9858-76602B3327D1}" type="presOf" srcId="{7BC353A9-2E9A-4B42-B9DF-3904A72B6A0E}" destId="{4AA2C478-9EB8-4ABB-80F5-2F4F349013CE}" srcOrd="1" destOrd="0" presId="urn:microsoft.com/office/officeart/2005/8/layout/vProcess5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84CEA25D-35A2-4E72-BA31-5EA3AC0BCEF3}" type="presOf" srcId="{909AA532-506D-4606-B4AA-A6C6B568EE38}" destId="{C6561706-8017-476D-B5AC-6B672A802971}" srcOrd="0" destOrd="0" presId="urn:microsoft.com/office/officeart/2005/8/layout/vProcess5"/>
    <dgm:cxn modelId="{1BF62B5F-9FAF-4E94-87D1-AB58B6530524}" type="presOf" srcId="{4B930698-118D-4CF9-A9EE-D20AB3B2B529}" destId="{33D0F394-C6FA-4064-B5B6-55B705A6596A}" srcOrd="0" destOrd="0" presId="urn:microsoft.com/office/officeart/2005/8/layout/vProcess5"/>
    <dgm:cxn modelId="{5F4E5760-A130-49D5-B703-82162AC841F7}" type="presOf" srcId="{CA7832D2-2110-409B-975C-EA1681C0E7E9}" destId="{A7B0F30A-B6DA-4473-98B8-EB02AC47E5B5}" srcOrd="0" destOrd="0" presId="urn:microsoft.com/office/officeart/2005/8/layout/vProcess5"/>
    <dgm:cxn modelId="{C768E56E-6355-4221-A53F-0F62656E07B5}" type="presOf" srcId="{3BF42CFD-9828-4408-9306-EEAE53761D4A}" destId="{D8125DBC-1860-4393-AF86-CEAB42D3B2B2}" srcOrd="1" destOrd="0" presId="urn:microsoft.com/office/officeart/2005/8/layout/vProcess5"/>
    <dgm:cxn modelId="{0DD07275-84FA-48D9-8443-84BE63EB72EF}" type="presOf" srcId="{3752F3AD-DF89-4911-B284-6E754B9C35DA}" destId="{433AAC31-0EA8-4393-9DD0-0A54212A7A4F}" srcOrd="0" destOrd="0" presId="urn:microsoft.com/office/officeart/2005/8/layout/vProcess5"/>
    <dgm:cxn modelId="{EC85B785-8DCD-4C2E-8551-7F0676AF3494}" type="presOf" srcId="{B24D0500-F20B-4154-AB78-9D8876D7245C}" destId="{3859C007-451E-4D3D-9B26-4073FB1DF25B}" srcOrd="0" destOrd="0" presId="urn:microsoft.com/office/officeart/2005/8/layout/vProcess5"/>
    <dgm:cxn modelId="{EB03F988-58F9-404E-B2EB-053B1F67E4BB}" type="presOf" srcId="{7BC353A9-2E9A-4B42-B9DF-3904A72B6A0E}" destId="{C864316C-A1AF-4559-BE8C-7BAD0A52C348}" srcOrd="0" destOrd="0" presId="urn:microsoft.com/office/officeart/2005/8/layout/vProcess5"/>
    <dgm:cxn modelId="{C4721D99-5906-41C5-A8F6-ACF28B2C4855}" type="presOf" srcId="{005063B7-85D1-441D-87C6-864638207FCC}" destId="{75BC19D4-4A54-48E3-AF5F-D590C9D0AABA}" srcOrd="0" destOrd="0" presId="urn:microsoft.com/office/officeart/2005/8/layout/vProcess5"/>
    <dgm:cxn modelId="{5FA6EA9D-97B8-4106-95C2-DDC0DD6738F7}" srcId="{005063B7-85D1-441D-87C6-864638207FCC}" destId="{B24D0500-F20B-4154-AB78-9D8876D7245C}" srcOrd="3" destOrd="0" parTransId="{A5EBAA77-8BE8-4667-A127-98505118398F}" sibTransId="{CA7832D2-2110-409B-975C-EA1681C0E7E9}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626353B1-4915-4844-AB4E-B07377C3CB17}" type="presOf" srcId="{909AA532-506D-4606-B4AA-A6C6B568EE38}" destId="{A9A8A5B4-A9AF-4C59-BE9C-5C60CE8369DB}" srcOrd="1" destOrd="0" presId="urn:microsoft.com/office/officeart/2005/8/layout/vProcess5"/>
    <dgm:cxn modelId="{945DDFCA-53CA-4BBD-9627-2D4C4D4CA375}" type="presOf" srcId="{34A83047-F862-4DFB-A54B-26CD2997000F}" destId="{ED864F53-A76F-4A4A-AD80-030E3595402C}" srcOrd="0" destOrd="0" presId="urn:microsoft.com/office/officeart/2005/8/layout/vProcess5"/>
    <dgm:cxn modelId="{F9453EDA-0B12-4D55-97E3-C00FDD7BE7EC}" srcId="{005063B7-85D1-441D-87C6-864638207FCC}" destId="{3BF42CFD-9828-4408-9306-EEAE53761D4A}" srcOrd="4" destOrd="0" parTransId="{BAF5EF37-CD12-4B4E-A308-96193BC7C202}" sibTransId="{5443D414-EDAD-40D1-BD18-58543BC609C6}"/>
    <dgm:cxn modelId="{782711FC-719A-41B1-96E8-53FB8D042A11}" type="presOf" srcId="{3BF42CFD-9828-4408-9306-EEAE53761D4A}" destId="{682D0C80-BA1F-4212-B47B-6617A2EF9D69}" srcOrd="0" destOrd="0" presId="urn:microsoft.com/office/officeart/2005/8/layout/vProcess5"/>
    <dgm:cxn modelId="{2720AC42-E09B-47DE-8AC6-E9BF0BBCEF98}" type="presParOf" srcId="{75BC19D4-4A54-48E3-AF5F-D590C9D0AABA}" destId="{70FA58E5-3DB1-4815-8C2E-7EB53DFDC229}" srcOrd="0" destOrd="0" presId="urn:microsoft.com/office/officeart/2005/8/layout/vProcess5"/>
    <dgm:cxn modelId="{2597D481-0E8D-4B48-BD77-1618B75D8C53}" type="presParOf" srcId="{75BC19D4-4A54-48E3-AF5F-D590C9D0AABA}" destId="{C864316C-A1AF-4559-BE8C-7BAD0A52C348}" srcOrd="1" destOrd="0" presId="urn:microsoft.com/office/officeart/2005/8/layout/vProcess5"/>
    <dgm:cxn modelId="{A3535833-CB46-42CA-BE3C-517A52B6594E}" type="presParOf" srcId="{75BC19D4-4A54-48E3-AF5F-D590C9D0AABA}" destId="{C6561706-8017-476D-B5AC-6B672A802971}" srcOrd="2" destOrd="0" presId="urn:microsoft.com/office/officeart/2005/8/layout/vProcess5"/>
    <dgm:cxn modelId="{D79A7064-6C9D-4143-8222-D058EC86DF83}" type="presParOf" srcId="{75BC19D4-4A54-48E3-AF5F-D590C9D0AABA}" destId="{7D3F52FF-D70C-4D91-BBE9-D30FCB0BA85A}" srcOrd="3" destOrd="0" presId="urn:microsoft.com/office/officeart/2005/8/layout/vProcess5"/>
    <dgm:cxn modelId="{499ED3BE-704D-40C9-862E-48C4413D06E8}" type="presParOf" srcId="{75BC19D4-4A54-48E3-AF5F-D590C9D0AABA}" destId="{3859C007-451E-4D3D-9B26-4073FB1DF25B}" srcOrd="4" destOrd="0" presId="urn:microsoft.com/office/officeart/2005/8/layout/vProcess5"/>
    <dgm:cxn modelId="{E01833BF-3031-4B9D-BD27-3AD7CB888F26}" type="presParOf" srcId="{75BC19D4-4A54-48E3-AF5F-D590C9D0AABA}" destId="{682D0C80-BA1F-4212-B47B-6617A2EF9D69}" srcOrd="5" destOrd="0" presId="urn:microsoft.com/office/officeart/2005/8/layout/vProcess5"/>
    <dgm:cxn modelId="{286A80B6-6351-49F7-A7A6-9D8C099E909E}" type="presParOf" srcId="{75BC19D4-4A54-48E3-AF5F-D590C9D0AABA}" destId="{ED864F53-A76F-4A4A-AD80-030E3595402C}" srcOrd="6" destOrd="0" presId="urn:microsoft.com/office/officeart/2005/8/layout/vProcess5"/>
    <dgm:cxn modelId="{CCD75A8B-78CA-4E6F-B5AF-B39391817C4F}" type="presParOf" srcId="{75BC19D4-4A54-48E3-AF5F-D590C9D0AABA}" destId="{433AAC31-0EA8-4393-9DD0-0A54212A7A4F}" srcOrd="7" destOrd="0" presId="urn:microsoft.com/office/officeart/2005/8/layout/vProcess5"/>
    <dgm:cxn modelId="{1EEBBF17-94AE-41B5-91C3-22929ED9B2A0}" type="presParOf" srcId="{75BC19D4-4A54-48E3-AF5F-D590C9D0AABA}" destId="{33D0F394-C6FA-4064-B5B6-55B705A6596A}" srcOrd="8" destOrd="0" presId="urn:microsoft.com/office/officeart/2005/8/layout/vProcess5"/>
    <dgm:cxn modelId="{8E149F49-89E7-4A32-A2FD-341371125FE3}" type="presParOf" srcId="{75BC19D4-4A54-48E3-AF5F-D590C9D0AABA}" destId="{A7B0F30A-B6DA-4473-98B8-EB02AC47E5B5}" srcOrd="9" destOrd="0" presId="urn:microsoft.com/office/officeart/2005/8/layout/vProcess5"/>
    <dgm:cxn modelId="{55D2CC19-0EB5-4643-A06F-5E12DA296497}" type="presParOf" srcId="{75BC19D4-4A54-48E3-AF5F-D590C9D0AABA}" destId="{4AA2C478-9EB8-4ABB-80F5-2F4F349013CE}" srcOrd="10" destOrd="0" presId="urn:microsoft.com/office/officeart/2005/8/layout/vProcess5"/>
    <dgm:cxn modelId="{41183E56-ADFF-4359-828F-E39FDCF36E35}" type="presParOf" srcId="{75BC19D4-4A54-48E3-AF5F-D590C9D0AABA}" destId="{A9A8A5B4-A9AF-4C59-BE9C-5C60CE8369DB}" srcOrd="11" destOrd="0" presId="urn:microsoft.com/office/officeart/2005/8/layout/vProcess5"/>
    <dgm:cxn modelId="{9D1629D0-3F88-40E8-8917-B9198A1BBBED}" type="presParOf" srcId="{75BC19D4-4A54-48E3-AF5F-D590C9D0AABA}" destId="{E7A15FD2-C846-441A-816A-3B1F2356502F}" srcOrd="12" destOrd="0" presId="urn:microsoft.com/office/officeart/2005/8/layout/vProcess5"/>
    <dgm:cxn modelId="{0BC5A087-905E-4E17-9D7F-D5FD2AF3BF97}" type="presParOf" srcId="{75BC19D4-4A54-48E3-AF5F-D590C9D0AABA}" destId="{B3B1054E-72AC-43AD-AB8E-D7F5A356F0C5}" srcOrd="13" destOrd="0" presId="urn:microsoft.com/office/officeart/2005/8/layout/vProcess5"/>
    <dgm:cxn modelId="{FCB26F9C-0B0F-4EA0-B41C-D84D7AE84538}" type="presParOf" srcId="{75BC19D4-4A54-48E3-AF5F-D590C9D0AABA}" destId="{D8125DBC-1860-4393-AF86-CEAB42D3B2B2}" srcOrd="14" destOrd="0" presId="urn:microsoft.com/office/officeart/2005/8/layout/vProcess5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DNA:n kopioitumisessa tapahtuu virheitä, joita entsyymit pyrkivät tunnistamaan ja korjaamaan</a:t>
          </a:r>
          <a:endParaRPr lang="fi-FI" dirty="0"/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1883DAAD-B914-46AE-AF12-1368ABAE852A}">
      <dgm:prSet/>
      <dgm:spPr>
        <a:solidFill>
          <a:srgbClr val="F27CB1"/>
        </a:solidFill>
      </dgm:spPr>
      <dgm:t>
        <a:bodyPr/>
        <a:lstStyle/>
        <a:p>
          <a:pPr marR="0" eaLnBrk="1" fontAlgn="auto" latinLnBrk="0" hangingPunct="1">
            <a:buClrTx/>
            <a:buSzTx/>
            <a:buFontTx/>
            <a:buNone/>
            <a:tabLst/>
            <a:defRPr/>
          </a:pPr>
          <a:r>
            <a:rPr lang="fi-FI" dirty="0">
              <a:cs typeface="Calibri"/>
            </a:rPr>
            <a:t>Pysyvät virheet ovat mutaatioita</a:t>
          </a:r>
          <a:endParaRPr lang="fi-FI" dirty="0"/>
        </a:p>
      </dgm:t>
    </dgm:pt>
    <dgm:pt modelId="{E6EF78C5-C92D-489D-86F0-D92A96D5E1E6}" type="parTrans" cxnId="{CB772ECB-BC5A-4ACA-846A-ED5E25BFC635}">
      <dgm:prSet/>
      <dgm:spPr/>
      <dgm:t>
        <a:bodyPr/>
        <a:lstStyle/>
        <a:p>
          <a:endParaRPr lang="fi-FI"/>
        </a:p>
      </dgm:t>
    </dgm:pt>
    <dgm:pt modelId="{FB9A18A9-D930-436F-A855-CB98669791D4}" type="sibTrans" cxnId="{CB772ECB-BC5A-4ACA-846A-ED5E25BFC635}">
      <dgm:prSet/>
      <dgm:spPr/>
      <dgm:t>
        <a:bodyPr/>
        <a:lstStyle/>
        <a:p>
          <a:endParaRPr lang="fi-FI"/>
        </a:p>
      </dgm:t>
    </dgm:pt>
    <dgm:pt modelId="{E0BDD789-F9FD-4EF1-978B-33998C1FD035}">
      <dgm:prSet/>
      <dgm:spPr>
        <a:solidFill>
          <a:srgbClr val="F599C3"/>
        </a:solidFill>
      </dgm:spPr>
      <dgm:t>
        <a:bodyPr/>
        <a:lstStyle/>
        <a:p>
          <a:r>
            <a:rPr lang="fi-FI" dirty="0">
              <a:cs typeface="Calibri"/>
            </a:rPr>
            <a:t>Geenimutaatio</a:t>
          </a:r>
          <a:endParaRPr lang="fi-FI" dirty="0"/>
        </a:p>
      </dgm:t>
    </dgm:pt>
    <dgm:pt modelId="{D9564D4E-70D2-44A4-BFEF-1D309551C0D1}" type="parTrans" cxnId="{D2653E0F-8FCD-4107-B9B5-0D78E76523D0}">
      <dgm:prSet/>
      <dgm:spPr/>
      <dgm:t>
        <a:bodyPr/>
        <a:lstStyle/>
        <a:p>
          <a:endParaRPr lang="fi-FI"/>
        </a:p>
      </dgm:t>
    </dgm:pt>
    <dgm:pt modelId="{31A728FC-EDDB-46F2-ACB9-66D66DD2A4AA}" type="sibTrans" cxnId="{D2653E0F-8FCD-4107-B9B5-0D78E76523D0}">
      <dgm:prSet/>
      <dgm:spPr/>
      <dgm:t>
        <a:bodyPr/>
        <a:lstStyle/>
        <a:p>
          <a:endParaRPr lang="fi-FI"/>
        </a:p>
      </dgm:t>
    </dgm:pt>
    <dgm:pt modelId="{F7CAB8C7-41E0-4965-A52A-F1A9012378FC}">
      <dgm:prSet/>
      <dgm:spPr>
        <a:solidFill>
          <a:srgbClr val="F9C3DB"/>
        </a:solidFill>
      </dgm:spPr>
      <dgm:t>
        <a:bodyPr/>
        <a:lstStyle/>
        <a:p>
          <a:r>
            <a:rPr lang="fi-FI" dirty="0">
              <a:cs typeface="Calibri"/>
            </a:rPr>
            <a:t>Pistemutaatio on yhden </a:t>
          </a:r>
          <a:r>
            <a:rPr lang="fi-FI" dirty="0" err="1">
              <a:cs typeface="Calibri"/>
            </a:rPr>
            <a:t>nukleotidin</a:t>
          </a:r>
          <a:r>
            <a:rPr lang="fi-FI" dirty="0">
              <a:cs typeface="Calibri"/>
            </a:rPr>
            <a:t> vaihtuminen toiseksi</a:t>
          </a:r>
          <a:endParaRPr lang="fi-FI" dirty="0"/>
        </a:p>
      </dgm:t>
    </dgm:pt>
    <dgm:pt modelId="{32B48EB0-598A-4328-94EF-73CBB25E0888}" type="parTrans" cxnId="{C0D92229-1390-496E-9980-6EDB9FA577A3}">
      <dgm:prSet/>
      <dgm:spPr/>
      <dgm:t>
        <a:bodyPr/>
        <a:lstStyle/>
        <a:p>
          <a:endParaRPr lang="fi-FI"/>
        </a:p>
      </dgm:t>
    </dgm:pt>
    <dgm:pt modelId="{30278DBD-8A69-4EEC-BCE2-1001E39FB012}" type="sibTrans" cxnId="{C0D92229-1390-496E-9980-6EDB9FA577A3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C911EB8-A54F-4BAF-B513-CC9DB0CBB497}" type="pres">
      <dgm:prSet presAssocID="{0E1C6016-7DEB-4E2F-9797-C18C672777F4}" presName="spacer" presStyleCnt="0"/>
      <dgm:spPr/>
    </dgm:pt>
    <dgm:pt modelId="{F18CEDCA-890F-41D9-8AF0-D9869C886198}" type="pres">
      <dgm:prSet presAssocID="{1883DAAD-B914-46AE-AF12-1368ABAE852A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09E6E55D-B5E8-4F25-9C4F-745F44EB53AB}" type="pres">
      <dgm:prSet presAssocID="{FB9A18A9-D930-436F-A855-CB98669791D4}" presName="spacer" presStyleCnt="0"/>
      <dgm:spPr/>
    </dgm:pt>
    <dgm:pt modelId="{A94AB4FA-ECA5-423B-BE75-33C01E030A8D}" type="pres">
      <dgm:prSet presAssocID="{E0BDD789-F9FD-4EF1-978B-33998C1FD035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EF9D043-EECF-4FC9-B497-185E5096DD76}" type="pres">
      <dgm:prSet presAssocID="{31A728FC-EDDB-46F2-ACB9-66D66DD2A4AA}" presName="spacer" presStyleCnt="0"/>
      <dgm:spPr/>
    </dgm:pt>
    <dgm:pt modelId="{8064DAD9-7BAC-47AA-9058-6C3D00ED6007}" type="pres">
      <dgm:prSet presAssocID="{F7CAB8C7-41E0-4965-A52A-F1A9012378FC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D2653E0F-8FCD-4107-B9B5-0D78E76523D0}" srcId="{2DD9BEDF-B9E2-4ABA-A056-FFA32216D3C8}" destId="{E0BDD789-F9FD-4EF1-978B-33998C1FD035}" srcOrd="2" destOrd="0" parTransId="{D9564D4E-70D2-44A4-BFEF-1D309551C0D1}" sibTransId="{31A728FC-EDDB-46F2-ACB9-66D66DD2A4AA}"/>
    <dgm:cxn modelId="{C0D92229-1390-496E-9980-6EDB9FA577A3}" srcId="{2DD9BEDF-B9E2-4ABA-A056-FFA32216D3C8}" destId="{F7CAB8C7-41E0-4965-A52A-F1A9012378FC}" srcOrd="3" destOrd="0" parTransId="{32B48EB0-598A-4328-94EF-73CBB25E0888}" sibTransId="{30278DBD-8A69-4EEC-BCE2-1001E39FB012}"/>
    <dgm:cxn modelId="{0D6F1073-0723-4155-B245-7E052F80D8D8}" type="presOf" srcId="{E0BDD789-F9FD-4EF1-978B-33998C1FD035}" destId="{A94AB4FA-ECA5-423B-BE75-33C01E030A8D}" srcOrd="0" destOrd="0" presId="urn:microsoft.com/office/officeart/2005/8/layout/vList2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CB772ECB-BC5A-4ACA-846A-ED5E25BFC635}" srcId="{2DD9BEDF-B9E2-4ABA-A056-FFA32216D3C8}" destId="{1883DAAD-B914-46AE-AF12-1368ABAE852A}" srcOrd="1" destOrd="0" parTransId="{E6EF78C5-C92D-489D-86F0-D92A96D5E1E6}" sibTransId="{FB9A18A9-D930-436F-A855-CB98669791D4}"/>
    <dgm:cxn modelId="{57A246CB-D5E0-4B00-A632-765212D71903}" type="presOf" srcId="{F7CAB8C7-41E0-4965-A52A-F1A9012378FC}" destId="{8064DAD9-7BAC-47AA-9058-6C3D00ED6007}" srcOrd="0" destOrd="0" presId="urn:microsoft.com/office/officeart/2005/8/layout/vList2"/>
    <dgm:cxn modelId="{68ABC8CD-E061-43C8-AC35-4BFD52DEF372}" type="presOf" srcId="{1883DAAD-B914-46AE-AF12-1368ABAE852A}" destId="{F18CEDCA-890F-41D9-8AF0-D9869C886198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3D5EEAB7-4530-46A9-BAAF-AABD6ECDFEBC}" type="presParOf" srcId="{2A2F781F-16C1-4D29-B08D-ACB557B90863}" destId="{8C911EB8-A54F-4BAF-B513-CC9DB0CBB497}" srcOrd="1" destOrd="0" presId="urn:microsoft.com/office/officeart/2005/8/layout/vList2"/>
    <dgm:cxn modelId="{491A0A55-D036-4EA6-92A5-AB3C5C511CCE}" type="presParOf" srcId="{2A2F781F-16C1-4D29-B08D-ACB557B90863}" destId="{F18CEDCA-890F-41D9-8AF0-D9869C886198}" srcOrd="2" destOrd="0" presId="urn:microsoft.com/office/officeart/2005/8/layout/vList2"/>
    <dgm:cxn modelId="{09D71332-27C3-480E-AD35-F7A207131498}" type="presParOf" srcId="{2A2F781F-16C1-4D29-B08D-ACB557B90863}" destId="{09E6E55D-B5E8-4F25-9C4F-745F44EB53AB}" srcOrd="3" destOrd="0" presId="urn:microsoft.com/office/officeart/2005/8/layout/vList2"/>
    <dgm:cxn modelId="{3E93BB0F-232A-4EB1-94EE-504CBF63AA5D}" type="presParOf" srcId="{2A2F781F-16C1-4D29-B08D-ACB557B90863}" destId="{A94AB4FA-ECA5-423B-BE75-33C01E030A8D}" srcOrd="4" destOrd="0" presId="urn:microsoft.com/office/officeart/2005/8/layout/vList2"/>
    <dgm:cxn modelId="{681F506A-20FC-45EF-A950-437EA4980A87}" type="presParOf" srcId="{2A2F781F-16C1-4D29-B08D-ACB557B90863}" destId="{CEF9D043-EECF-4FC9-B497-185E5096DD76}" srcOrd="5" destOrd="0" presId="urn:microsoft.com/office/officeart/2005/8/layout/vList2"/>
    <dgm:cxn modelId="{BC86AC88-75DB-4069-A76A-904E044013C6}" type="presParOf" srcId="{2A2F781F-16C1-4D29-B08D-ACB557B90863}" destId="{8064DAD9-7BAC-47AA-9058-6C3D00ED6007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Hormonit ja kasvutekijät säätelevät solunjakautumist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06AA7"/>
        </a:solidFill>
      </dgm:spPr>
      <dgm:t>
        <a:bodyPr/>
        <a:lstStyle/>
        <a:p>
          <a:r>
            <a:rPr lang="fi-FI" dirty="0"/>
            <a:t>Geenit vaikuttavat solunjakautumisen vaiheiden etenemiseen entsyymien avulla</a:t>
          </a:r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6ED1CE75-6F6E-442C-BBA5-2F248E55150A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77996A2A-358E-45DB-8463-BF6520387FA2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F76584DC-632F-4601-BAB7-47E087647AB6}" type="pres">
      <dgm:prSet presAssocID="{34A83047-F862-4DFB-A54B-26CD2997000F}" presName="spacer" presStyleCnt="0"/>
      <dgm:spPr/>
    </dgm:pt>
    <dgm:pt modelId="{88D26E1A-132F-4929-B661-4F1FCDE43EA0}" type="pres">
      <dgm:prSet presAssocID="{909AA532-506D-4606-B4AA-A6C6B568EE38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CE0EDE04-1D25-4853-8A89-75770F9298E3}" type="presOf" srcId="{005063B7-85D1-441D-87C6-864638207FCC}" destId="{6ED1CE75-6F6E-442C-BBA5-2F248E55150A}" srcOrd="0" destOrd="0" presId="urn:microsoft.com/office/officeart/2005/8/layout/vList2"/>
    <dgm:cxn modelId="{D593EF32-16C0-4C29-BBDD-855BE66907E1}" type="presOf" srcId="{7BC353A9-2E9A-4B42-B9DF-3904A72B6A0E}" destId="{77996A2A-358E-45DB-8463-BF6520387FA2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EFDF4FC4-FC84-44B2-95B7-0506974B85B8}" type="presOf" srcId="{909AA532-506D-4606-B4AA-A6C6B568EE38}" destId="{88D26E1A-132F-4929-B661-4F1FCDE43EA0}" srcOrd="0" destOrd="0" presId="urn:microsoft.com/office/officeart/2005/8/layout/vList2"/>
    <dgm:cxn modelId="{0FEEED21-8C3B-4EF5-98CF-A07DB74B9BFF}" type="presParOf" srcId="{6ED1CE75-6F6E-442C-BBA5-2F248E55150A}" destId="{77996A2A-358E-45DB-8463-BF6520387FA2}" srcOrd="0" destOrd="0" presId="urn:microsoft.com/office/officeart/2005/8/layout/vList2"/>
    <dgm:cxn modelId="{61055F97-99B0-4E26-83B2-AA46215F8C1A}" type="presParOf" srcId="{6ED1CE75-6F6E-442C-BBA5-2F248E55150A}" destId="{F76584DC-632F-4601-BAB7-47E087647AB6}" srcOrd="1" destOrd="0" presId="urn:microsoft.com/office/officeart/2005/8/layout/vList2"/>
    <dgm:cxn modelId="{B7984BAE-E32E-41C2-A374-A09035B59648}" type="presParOf" srcId="{6ED1CE75-6F6E-442C-BBA5-2F248E55150A}" destId="{88D26E1A-132F-4929-B661-4F1FCDE43EA0}" srcOrd="2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Kantasolut ovat soluja, jotka kykenevät jakautumaan ja erilaistumaan miksi tahansa elimistön soluksi</a:t>
          </a:r>
          <a:endParaRPr lang="fi-FI" dirty="0"/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1883DAAD-B914-46AE-AF12-1368ABAE852A}">
      <dgm:prSet/>
      <dgm:spPr>
        <a:solidFill>
          <a:srgbClr val="EC008C"/>
        </a:solidFill>
      </dgm:spPr>
      <dgm:t>
        <a:bodyPr/>
        <a:lstStyle/>
        <a:p>
          <a:pPr marR="0" eaLnBrk="1" fontAlgn="auto" latinLnBrk="0" hangingPunct="1">
            <a:buClrTx/>
            <a:buSzTx/>
            <a:buFontTx/>
            <a:buNone/>
            <a:tabLst/>
            <a:defRPr/>
          </a:pPr>
          <a:r>
            <a:rPr lang="fi-FI" dirty="0">
              <a:cs typeface="Calibri"/>
            </a:rPr>
            <a:t>Solujen jakautumisten määrä vaihtelee kudoksen, solukon tai eliölajin mukaan</a:t>
          </a:r>
          <a:endParaRPr lang="fi-FI" dirty="0"/>
        </a:p>
      </dgm:t>
    </dgm:pt>
    <dgm:pt modelId="{E6EF78C5-C92D-489D-86F0-D92A96D5E1E6}" type="parTrans" cxnId="{CB772ECB-BC5A-4ACA-846A-ED5E25BFC635}">
      <dgm:prSet/>
      <dgm:spPr/>
      <dgm:t>
        <a:bodyPr/>
        <a:lstStyle/>
        <a:p>
          <a:endParaRPr lang="fi-FI"/>
        </a:p>
      </dgm:t>
    </dgm:pt>
    <dgm:pt modelId="{FB9A18A9-D930-436F-A855-CB98669791D4}" type="sibTrans" cxnId="{CB772ECB-BC5A-4ACA-846A-ED5E25BFC635}">
      <dgm:prSet/>
      <dgm:spPr/>
      <dgm:t>
        <a:bodyPr/>
        <a:lstStyle/>
        <a:p>
          <a:endParaRPr lang="fi-FI"/>
        </a:p>
      </dgm:t>
    </dgm:pt>
    <dgm:pt modelId="{E0BDD789-F9FD-4EF1-978B-33998C1FD035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Jakautumiskertoja on rajallinen määrä</a:t>
          </a:r>
          <a:endParaRPr lang="fi-FI" dirty="0"/>
        </a:p>
      </dgm:t>
    </dgm:pt>
    <dgm:pt modelId="{D9564D4E-70D2-44A4-BFEF-1D309551C0D1}" type="parTrans" cxnId="{D2653E0F-8FCD-4107-B9B5-0D78E76523D0}">
      <dgm:prSet/>
      <dgm:spPr/>
      <dgm:t>
        <a:bodyPr/>
        <a:lstStyle/>
        <a:p>
          <a:endParaRPr lang="fi-FI"/>
        </a:p>
      </dgm:t>
    </dgm:pt>
    <dgm:pt modelId="{31A728FC-EDDB-46F2-ACB9-66D66DD2A4AA}" type="sibTrans" cxnId="{D2653E0F-8FCD-4107-B9B5-0D78E76523D0}">
      <dgm:prSet/>
      <dgm:spPr/>
      <dgm:t>
        <a:bodyPr/>
        <a:lstStyle/>
        <a:p>
          <a:endParaRPr lang="fi-FI"/>
        </a:p>
      </dgm:t>
    </dgm:pt>
    <dgm:pt modelId="{F7CAB8C7-41E0-4965-A52A-F1A9012378FC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Kromosomin päässä on geenitön DNA-jakso, </a:t>
          </a:r>
          <a:r>
            <a:rPr lang="fi-FI" dirty="0" err="1">
              <a:cs typeface="Calibri"/>
            </a:rPr>
            <a:t>telomeeri</a:t>
          </a:r>
          <a:endParaRPr lang="fi-FI" dirty="0"/>
        </a:p>
      </dgm:t>
    </dgm:pt>
    <dgm:pt modelId="{32B48EB0-598A-4328-94EF-73CBB25E0888}" type="parTrans" cxnId="{C0D92229-1390-496E-9980-6EDB9FA577A3}">
      <dgm:prSet/>
      <dgm:spPr/>
      <dgm:t>
        <a:bodyPr/>
        <a:lstStyle/>
        <a:p>
          <a:endParaRPr lang="fi-FI"/>
        </a:p>
      </dgm:t>
    </dgm:pt>
    <dgm:pt modelId="{30278DBD-8A69-4EEC-BCE2-1001E39FB012}" type="sibTrans" cxnId="{C0D92229-1390-496E-9980-6EDB9FA577A3}">
      <dgm:prSet/>
      <dgm:spPr/>
      <dgm:t>
        <a:bodyPr/>
        <a:lstStyle/>
        <a:p>
          <a:endParaRPr lang="fi-FI"/>
        </a:p>
      </dgm:t>
    </dgm:pt>
    <dgm:pt modelId="{ECE44994-03E7-4C40-B625-BB02740DA5FA}">
      <dgm:prSet custT="1"/>
      <dgm:spPr>
        <a:noFill/>
      </dgm:spPr>
      <dgm:t>
        <a:bodyPr/>
        <a:lstStyle/>
        <a:p>
          <a:r>
            <a:rPr lang="fi-FI" sz="1800" dirty="0">
              <a:cs typeface="Calibri"/>
            </a:rPr>
            <a:t>Jokaisessa solunjakautumisessa </a:t>
          </a:r>
          <a:r>
            <a:rPr lang="fi-FI" sz="1800" dirty="0" err="1">
              <a:cs typeface="Calibri"/>
            </a:rPr>
            <a:t>telomeerit</a:t>
          </a:r>
          <a:r>
            <a:rPr lang="fi-FI" sz="1800" dirty="0">
              <a:cs typeface="Calibri"/>
            </a:rPr>
            <a:t> lyhenevät</a:t>
          </a:r>
          <a:endParaRPr lang="fi-FI" sz="1800" dirty="0"/>
        </a:p>
      </dgm:t>
    </dgm:pt>
    <dgm:pt modelId="{C89624A1-3FFE-4AD1-AA99-D1103CC76F8D}" type="parTrans" cxnId="{E90317B5-9A1E-4F29-8EEA-58983207FB82}">
      <dgm:prSet/>
      <dgm:spPr/>
      <dgm:t>
        <a:bodyPr/>
        <a:lstStyle/>
        <a:p>
          <a:endParaRPr lang="fi-FI"/>
        </a:p>
      </dgm:t>
    </dgm:pt>
    <dgm:pt modelId="{0C10E52B-D13F-4494-B75C-A37860A43E0A}" type="sibTrans" cxnId="{E90317B5-9A1E-4F29-8EEA-58983207FB82}">
      <dgm:prSet/>
      <dgm:spPr/>
      <dgm:t>
        <a:bodyPr/>
        <a:lstStyle/>
        <a:p>
          <a:endParaRPr lang="fi-FI"/>
        </a:p>
      </dgm:t>
    </dgm:pt>
    <dgm:pt modelId="{C2466CEC-AF92-449F-B9D1-AD942A44F486}">
      <dgm:prSet custT="1"/>
      <dgm:spPr>
        <a:noFill/>
      </dgm:spPr>
      <dgm:t>
        <a:bodyPr/>
        <a:lstStyle/>
        <a:p>
          <a:r>
            <a:rPr lang="fi-FI" sz="1800" dirty="0">
              <a:cs typeface="Calibri"/>
            </a:rPr>
            <a:t>Kantasoluissa ja syöpäsoluissa </a:t>
          </a:r>
          <a:r>
            <a:rPr lang="fi-FI" sz="1800" dirty="0" err="1">
              <a:cs typeface="Calibri"/>
            </a:rPr>
            <a:t>telomeraasientsyymi</a:t>
          </a:r>
          <a:r>
            <a:rPr lang="fi-FI" sz="1800" dirty="0">
              <a:cs typeface="Calibri"/>
            </a:rPr>
            <a:t> korjaa lyhentyneet kromosomien päät </a:t>
          </a:r>
          <a:endParaRPr lang="fi-FI" sz="1800" dirty="0"/>
        </a:p>
      </dgm:t>
    </dgm:pt>
    <dgm:pt modelId="{8F35B0B9-D926-4AAF-B532-122FD4F0522C}" type="parTrans" cxnId="{281896A4-C572-4265-A089-7ED3A08A762D}">
      <dgm:prSet/>
      <dgm:spPr/>
      <dgm:t>
        <a:bodyPr/>
        <a:lstStyle/>
        <a:p>
          <a:endParaRPr lang="fi-FI"/>
        </a:p>
      </dgm:t>
    </dgm:pt>
    <dgm:pt modelId="{9F80C3BE-CFF6-426C-95B5-D8CD06D00E5C}" type="sibTrans" cxnId="{281896A4-C572-4265-A089-7ED3A08A762D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C911EB8-A54F-4BAF-B513-CC9DB0CBB497}" type="pres">
      <dgm:prSet presAssocID="{0E1C6016-7DEB-4E2F-9797-C18C672777F4}" presName="spacer" presStyleCnt="0"/>
      <dgm:spPr/>
    </dgm:pt>
    <dgm:pt modelId="{F18CEDCA-890F-41D9-8AF0-D9869C886198}" type="pres">
      <dgm:prSet presAssocID="{1883DAAD-B914-46AE-AF12-1368ABAE852A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09E6E55D-B5E8-4F25-9C4F-745F44EB53AB}" type="pres">
      <dgm:prSet presAssocID="{FB9A18A9-D930-436F-A855-CB98669791D4}" presName="spacer" presStyleCnt="0"/>
      <dgm:spPr/>
    </dgm:pt>
    <dgm:pt modelId="{A94AB4FA-ECA5-423B-BE75-33C01E030A8D}" type="pres">
      <dgm:prSet presAssocID="{E0BDD789-F9FD-4EF1-978B-33998C1FD035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EF9D043-EECF-4FC9-B497-185E5096DD76}" type="pres">
      <dgm:prSet presAssocID="{31A728FC-EDDB-46F2-ACB9-66D66DD2A4AA}" presName="spacer" presStyleCnt="0"/>
      <dgm:spPr/>
    </dgm:pt>
    <dgm:pt modelId="{8064DAD9-7BAC-47AA-9058-6C3D00ED6007}" type="pres">
      <dgm:prSet presAssocID="{F7CAB8C7-41E0-4965-A52A-F1A9012378FC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28704CC2-41A7-4346-ADCB-2AC16D860EE2}" type="pres">
      <dgm:prSet presAssocID="{F7CAB8C7-41E0-4965-A52A-F1A9012378FC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D2653E0F-8FCD-4107-B9B5-0D78E76523D0}" srcId="{2DD9BEDF-B9E2-4ABA-A056-FFA32216D3C8}" destId="{E0BDD789-F9FD-4EF1-978B-33998C1FD035}" srcOrd="2" destOrd="0" parTransId="{D9564D4E-70D2-44A4-BFEF-1D309551C0D1}" sibTransId="{31A728FC-EDDB-46F2-ACB9-66D66DD2A4AA}"/>
    <dgm:cxn modelId="{C0D92229-1390-496E-9980-6EDB9FA577A3}" srcId="{2DD9BEDF-B9E2-4ABA-A056-FFA32216D3C8}" destId="{F7CAB8C7-41E0-4965-A52A-F1A9012378FC}" srcOrd="3" destOrd="0" parTransId="{32B48EB0-598A-4328-94EF-73CBB25E0888}" sibTransId="{30278DBD-8A69-4EEC-BCE2-1001E39FB012}"/>
    <dgm:cxn modelId="{0D6F1073-0723-4155-B245-7E052F80D8D8}" type="presOf" srcId="{E0BDD789-F9FD-4EF1-978B-33998C1FD035}" destId="{A94AB4FA-ECA5-423B-BE75-33C01E030A8D}" srcOrd="0" destOrd="0" presId="urn:microsoft.com/office/officeart/2005/8/layout/vList2"/>
    <dgm:cxn modelId="{6D9CE28C-B89D-404E-97BF-FA4FD4C55B21}" type="presOf" srcId="{ECE44994-03E7-4C40-B625-BB02740DA5FA}" destId="{28704CC2-41A7-4346-ADCB-2AC16D860EE2}" srcOrd="0" destOrd="0" presId="urn:microsoft.com/office/officeart/2005/8/layout/vList2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281896A4-C572-4265-A089-7ED3A08A762D}" srcId="{F7CAB8C7-41E0-4965-A52A-F1A9012378FC}" destId="{C2466CEC-AF92-449F-B9D1-AD942A44F486}" srcOrd="1" destOrd="0" parTransId="{8F35B0B9-D926-4AAF-B532-122FD4F0522C}" sibTransId="{9F80C3BE-CFF6-426C-95B5-D8CD06D00E5C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E90317B5-9A1E-4F29-8EEA-58983207FB82}" srcId="{F7CAB8C7-41E0-4965-A52A-F1A9012378FC}" destId="{ECE44994-03E7-4C40-B625-BB02740DA5FA}" srcOrd="0" destOrd="0" parTransId="{C89624A1-3FFE-4AD1-AA99-D1103CC76F8D}" sibTransId="{0C10E52B-D13F-4494-B75C-A37860A43E0A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CB772ECB-BC5A-4ACA-846A-ED5E25BFC635}" srcId="{2DD9BEDF-B9E2-4ABA-A056-FFA32216D3C8}" destId="{1883DAAD-B914-46AE-AF12-1368ABAE852A}" srcOrd="1" destOrd="0" parTransId="{E6EF78C5-C92D-489D-86F0-D92A96D5E1E6}" sibTransId="{FB9A18A9-D930-436F-A855-CB98669791D4}"/>
    <dgm:cxn modelId="{57A246CB-D5E0-4B00-A632-765212D71903}" type="presOf" srcId="{F7CAB8C7-41E0-4965-A52A-F1A9012378FC}" destId="{8064DAD9-7BAC-47AA-9058-6C3D00ED6007}" srcOrd="0" destOrd="0" presId="urn:microsoft.com/office/officeart/2005/8/layout/vList2"/>
    <dgm:cxn modelId="{68ABC8CD-E061-43C8-AC35-4BFD52DEF372}" type="presOf" srcId="{1883DAAD-B914-46AE-AF12-1368ABAE852A}" destId="{F18CEDCA-890F-41D9-8AF0-D9869C886198}" srcOrd="0" destOrd="0" presId="urn:microsoft.com/office/officeart/2005/8/layout/vList2"/>
    <dgm:cxn modelId="{24007FEB-E208-4440-8B47-1010272FCF96}" type="presOf" srcId="{C2466CEC-AF92-449F-B9D1-AD942A44F486}" destId="{28704CC2-41A7-4346-ADCB-2AC16D860EE2}" srcOrd="0" destOrd="1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3D5EEAB7-4530-46A9-BAAF-AABD6ECDFEBC}" type="presParOf" srcId="{2A2F781F-16C1-4D29-B08D-ACB557B90863}" destId="{8C911EB8-A54F-4BAF-B513-CC9DB0CBB497}" srcOrd="1" destOrd="0" presId="urn:microsoft.com/office/officeart/2005/8/layout/vList2"/>
    <dgm:cxn modelId="{491A0A55-D036-4EA6-92A5-AB3C5C511CCE}" type="presParOf" srcId="{2A2F781F-16C1-4D29-B08D-ACB557B90863}" destId="{F18CEDCA-890F-41D9-8AF0-D9869C886198}" srcOrd="2" destOrd="0" presId="urn:microsoft.com/office/officeart/2005/8/layout/vList2"/>
    <dgm:cxn modelId="{09D71332-27C3-480E-AD35-F7A207131498}" type="presParOf" srcId="{2A2F781F-16C1-4D29-B08D-ACB557B90863}" destId="{09E6E55D-B5E8-4F25-9C4F-745F44EB53AB}" srcOrd="3" destOrd="0" presId="urn:microsoft.com/office/officeart/2005/8/layout/vList2"/>
    <dgm:cxn modelId="{3E93BB0F-232A-4EB1-94EE-504CBF63AA5D}" type="presParOf" srcId="{2A2F781F-16C1-4D29-B08D-ACB557B90863}" destId="{A94AB4FA-ECA5-423B-BE75-33C01E030A8D}" srcOrd="4" destOrd="0" presId="urn:microsoft.com/office/officeart/2005/8/layout/vList2"/>
    <dgm:cxn modelId="{681F506A-20FC-45EF-A950-437EA4980A87}" type="presParOf" srcId="{2A2F781F-16C1-4D29-B08D-ACB557B90863}" destId="{CEF9D043-EECF-4FC9-B497-185E5096DD76}" srcOrd="5" destOrd="0" presId="urn:microsoft.com/office/officeart/2005/8/layout/vList2"/>
    <dgm:cxn modelId="{BC86AC88-75DB-4069-A76A-904E044013C6}" type="presParOf" srcId="{2A2F781F-16C1-4D29-B08D-ACB557B90863}" destId="{8064DAD9-7BAC-47AA-9058-6C3D00ED6007}" srcOrd="6" destOrd="0" presId="urn:microsoft.com/office/officeart/2005/8/layout/vList2"/>
    <dgm:cxn modelId="{9B5D2D61-A87D-4680-AB1B-42ACE2D347F1}" type="presParOf" srcId="{2A2F781F-16C1-4D29-B08D-ACB557B90863}" destId="{28704CC2-41A7-4346-ADCB-2AC16D860EE2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19986"/>
          <a:ext cx="10515600" cy="82368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Jakautuvat solut ovat yksi elämän tunnuspiirteistä</a:t>
          </a:r>
        </a:p>
      </dsp:txBody>
      <dsp:txXfrm>
        <a:off x="40209" y="60195"/>
        <a:ext cx="10435182" cy="743262"/>
      </dsp:txXfrm>
    </dsp:sp>
    <dsp:sp modelId="{DCC5FB86-1936-400D-B1D5-1AACF01901D7}">
      <dsp:nvSpPr>
        <dsp:cNvPr id="0" name=""/>
        <dsp:cNvSpPr/>
      </dsp:nvSpPr>
      <dsp:spPr>
        <a:xfrm>
          <a:off x="0" y="970386"/>
          <a:ext cx="10515600" cy="82368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Solujen jakautuessa</a:t>
          </a:r>
        </a:p>
      </dsp:txBody>
      <dsp:txXfrm>
        <a:off x="40209" y="1010595"/>
        <a:ext cx="10435182" cy="743262"/>
      </dsp:txXfrm>
    </dsp:sp>
    <dsp:sp modelId="{85A5D33E-643F-4A77-B677-36661B6DEB83}">
      <dsp:nvSpPr>
        <dsp:cNvPr id="0" name=""/>
        <dsp:cNvSpPr/>
      </dsp:nvSpPr>
      <dsp:spPr>
        <a:xfrm>
          <a:off x="0" y="1794066"/>
          <a:ext cx="10515600" cy="12295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0480" rIns="170688" bIns="3048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/>
            <a:t>yksilö kasvaa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/>
            <a:t>vanhat solut korvautuvat uusilla</a:t>
          </a:r>
          <a:endParaRPr lang="fi-FI" sz="2400" kern="1200" dirty="0">
            <a:cs typeface="Calibri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/>
            <a:t>syntyy emosolun kaltainen tytärsolu</a:t>
          </a:r>
        </a:p>
      </dsp:txBody>
      <dsp:txXfrm>
        <a:off x="0" y="1794066"/>
        <a:ext cx="10515600" cy="12295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57802"/>
          <a:ext cx="4376696" cy="71604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Eri soluilla eri elämänkierron vaiheet ovat eri pituisia</a:t>
          </a:r>
          <a:endParaRPr lang="en-US" sz="1800" kern="1200" dirty="0"/>
        </a:p>
      </dsp:txBody>
      <dsp:txXfrm>
        <a:off x="34954" y="92756"/>
        <a:ext cx="4306788" cy="646132"/>
      </dsp:txXfrm>
    </dsp:sp>
    <dsp:sp modelId="{BFD4EF96-1CE6-49E4-A2C5-AD9722D55C76}">
      <dsp:nvSpPr>
        <dsp:cNvPr id="0" name=""/>
        <dsp:cNvSpPr/>
      </dsp:nvSpPr>
      <dsp:spPr>
        <a:xfrm>
          <a:off x="0" y="825682"/>
          <a:ext cx="4376696" cy="71604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Välivaihe on solun toiminnan aktiivisinta aikaa</a:t>
          </a:r>
        </a:p>
      </dsp:txBody>
      <dsp:txXfrm>
        <a:off x="34954" y="860636"/>
        <a:ext cx="4306788" cy="646132"/>
      </dsp:txXfrm>
    </dsp:sp>
    <dsp:sp modelId="{FE7E7118-4C51-4671-8D4C-197F2855AD51}">
      <dsp:nvSpPr>
        <dsp:cNvPr id="0" name=""/>
        <dsp:cNvSpPr/>
      </dsp:nvSpPr>
      <dsp:spPr>
        <a:xfrm>
          <a:off x="0" y="1541722"/>
          <a:ext cx="4376696" cy="12295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960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/>
            <a:t>solu kasvaa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/>
            <a:t>solu tuottaa proteiinej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/>
            <a:t>solun soluelimet lisääntyvät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400" kern="1200" dirty="0"/>
            <a:t>yleensä suurin osa solun elämästä on välivaihett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1400" kern="1200" dirty="0"/>
        </a:p>
      </dsp:txBody>
      <dsp:txXfrm>
        <a:off x="0" y="1541722"/>
        <a:ext cx="4376696" cy="1229580"/>
      </dsp:txXfrm>
    </dsp:sp>
    <dsp:sp modelId="{BE92AD39-0414-4147-8835-B4B9C1A6BBEB}">
      <dsp:nvSpPr>
        <dsp:cNvPr id="0" name=""/>
        <dsp:cNvSpPr/>
      </dsp:nvSpPr>
      <dsp:spPr>
        <a:xfrm>
          <a:off x="0" y="2771302"/>
          <a:ext cx="4376696" cy="716040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1800" kern="1200" dirty="0"/>
            <a:t>Jakautumisvaiheessa tapahtuu</a:t>
          </a:r>
        </a:p>
      </dsp:txBody>
      <dsp:txXfrm>
        <a:off x="34954" y="2806256"/>
        <a:ext cx="4306788" cy="646132"/>
      </dsp:txXfrm>
    </dsp:sp>
    <dsp:sp modelId="{FF1735B7-10AE-4438-8296-CDAEED5049ED}">
      <dsp:nvSpPr>
        <dsp:cNvPr id="0" name=""/>
        <dsp:cNvSpPr/>
      </dsp:nvSpPr>
      <dsp:spPr>
        <a:xfrm>
          <a:off x="0" y="3487342"/>
          <a:ext cx="4376696" cy="11550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960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400" kern="1200"/>
            <a:t>mitoosi eli tumanjakautuminen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400" kern="1200"/>
            <a:t>soluliman jakautuminen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400" kern="1200" dirty="0"/>
            <a:t>yhdestä emosolusta syntyy kaksi perimältään identtistä tytärsolu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endParaRPr lang="fi-FI" sz="1400" kern="1200" dirty="0"/>
        </a:p>
      </dsp:txBody>
      <dsp:txXfrm>
        <a:off x="0" y="3487342"/>
        <a:ext cx="4376696" cy="11550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41109-FF81-4945-89B7-A8A0C017B20F}">
      <dsp:nvSpPr>
        <dsp:cNvPr id="0" name=""/>
        <dsp:cNvSpPr/>
      </dsp:nvSpPr>
      <dsp:spPr>
        <a:xfrm>
          <a:off x="0" y="222996"/>
          <a:ext cx="4376696" cy="1053840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/>
            <a:t>DNA kahdentuu eli tapahtuu replikaatio</a:t>
          </a:r>
          <a:endParaRPr lang="en-US" sz="1900" kern="1200" dirty="0"/>
        </a:p>
      </dsp:txBody>
      <dsp:txXfrm>
        <a:off x="51444" y="274440"/>
        <a:ext cx="4273808" cy="950952"/>
      </dsp:txXfrm>
    </dsp:sp>
    <dsp:sp modelId="{BFD4EF96-1CE6-49E4-A2C5-AD9722D55C76}">
      <dsp:nvSpPr>
        <dsp:cNvPr id="0" name=""/>
        <dsp:cNvSpPr/>
      </dsp:nvSpPr>
      <dsp:spPr>
        <a:xfrm>
          <a:off x="0" y="1331557"/>
          <a:ext cx="4376696" cy="1053840"/>
        </a:xfrm>
        <a:prstGeom prst="roundRect">
          <a:avLst/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900" kern="1200"/>
            <a:t>perinnöllinen informaatio siirtyy muuttumattomana solusukupolvelta toiselle</a:t>
          </a:r>
          <a:endParaRPr lang="fi-FI" sz="1900" kern="1200" dirty="0"/>
        </a:p>
      </dsp:txBody>
      <dsp:txXfrm>
        <a:off x="51444" y="1383001"/>
        <a:ext cx="4273808" cy="950952"/>
      </dsp:txXfrm>
    </dsp:sp>
    <dsp:sp modelId="{BE92AD39-0414-4147-8835-B4B9C1A6BBEB}">
      <dsp:nvSpPr>
        <dsp:cNvPr id="0" name=""/>
        <dsp:cNvSpPr/>
      </dsp:nvSpPr>
      <dsp:spPr>
        <a:xfrm>
          <a:off x="0" y="2440117"/>
          <a:ext cx="4376696" cy="1053840"/>
        </a:xfrm>
        <a:prstGeom prst="roundRect">
          <a:avLst/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1900" kern="1200"/>
            <a:t>DNA:n kahdentuessa molempien DNA-juosteiden viereen rakentuu uusi juoste</a:t>
          </a:r>
          <a:endParaRPr lang="fi-FI" sz="1900" kern="1200" dirty="0"/>
        </a:p>
      </dsp:txBody>
      <dsp:txXfrm>
        <a:off x="51444" y="2491561"/>
        <a:ext cx="4273808" cy="950952"/>
      </dsp:txXfrm>
    </dsp:sp>
    <dsp:sp modelId="{FF1735B7-10AE-4438-8296-CDAEED5049ED}">
      <dsp:nvSpPr>
        <dsp:cNvPr id="0" name=""/>
        <dsp:cNvSpPr/>
      </dsp:nvSpPr>
      <dsp:spPr>
        <a:xfrm>
          <a:off x="0" y="3493958"/>
          <a:ext cx="4376696" cy="983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960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500" kern="1200"/>
            <a:t>Uudet juosteet rakentaa DNA-polymeraasientsyymi</a:t>
          </a:r>
          <a:endParaRPr lang="fi-FI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500" kern="1200"/>
            <a:t>Uudet juosteet rakentuvat emäspariperiaatteen mukaan</a:t>
          </a:r>
          <a:endParaRPr lang="fi-FI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charset="0"/>
            <a:buChar char="•"/>
          </a:pPr>
          <a:r>
            <a:rPr lang="fi-FI" sz="1500" kern="1200">
              <a:cs typeface="Calibri" panose="020F0502020204030204"/>
            </a:rPr>
            <a:t>Kahdentumisessa tarvitaan useita entsyymejä</a:t>
          </a:r>
          <a:endParaRPr lang="fi-FI" sz="1500" kern="1200" dirty="0">
            <a:cs typeface="Calibri" panose="020F0502020204030204"/>
          </a:endParaRPr>
        </a:p>
      </dsp:txBody>
      <dsp:txXfrm>
        <a:off x="0" y="3493958"/>
        <a:ext cx="4376696" cy="98325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64316C-A1AF-4559-BE8C-7BAD0A52C348}">
      <dsp:nvSpPr>
        <dsp:cNvPr id="0" name=""/>
        <dsp:cNvSpPr/>
      </dsp:nvSpPr>
      <dsp:spPr>
        <a:xfrm>
          <a:off x="0" y="0"/>
          <a:ext cx="3433871" cy="858178"/>
        </a:xfrm>
        <a:prstGeom prst="roundRect">
          <a:avLst>
            <a:gd name="adj" fmla="val 10000"/>
          </a:avLst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>
              <a:cs typeface="Calibri"/>
            </a:rPr>
            <a:t>1. Kahdentumisen alkaessa </a:t>
          </a:r>
          <a:r>
            <a:rPr lang="fi-FI" sz="1400" kern="1200" dirty="0" err="1">
              <a:cs typeface="Calibri"/>
            </a:rPr>
            <a:t>helikaasientsyymi</a:t>
          </a:r>
          <a:r>
            <a:rPr lang="fi-FI" sz="1400" kern="1200" dirty="0">
              <a:cs typeface="Calibri"/>
            </a:rPr>
            <a:t> avaa kaksoisjuosteen</a:t>
          </a:r>
          <a:endParaRPr lang="en-US" sz="1400" kern="1200" dirty="0"/>
        </a:p>
      </dsp:txBody>
      <dsp:txXfrm>
        <a:off x="25135" y="25135"/>
        <a:ext cx="2407423" cy="807908"/>
      </dsp:txXfrm>
    </dsp:sp>
    <dsp:sp modelId="{C6561706-8017-476D-B5AC-6B672A802971}">
      <dsp:nvSpPr>
        <dsp:cNvPr id="0" name=""/>
        <dsp:cNvSpPr/>
      </dsp:nvSpPr>
      <dsp:spPr>
        <a:xfrm>
          <a:off x="256425" y="977370"/>
          <a:ext cx="3433871" cy="858178"/>
        </a:xfrm>
        <a:prstGeom prst="roundRect">
          <a:avLst>
            <a:gd name="adj" fmla="val 10000"/>
          </a:avLst>
        </a:prstGeom>
        <a:solidFill>
          <a:srgbClr val="F06AA7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>
              <a:cs typeface="Calibri"/>
            </a:rPr>
            <a:t>2. DNA-polymeraasi kiinnittää </a:t>
          </a:r>
          <a:r>
            <a:rPr lang="fi-FI" sz="1400" kern="1200" dirty="0" err="1">
              <a:cs typeface="Calibri"/>
            </a:rPr>
            <a:t>nukleotideja</a:t>
          </a:r>
          <a:r>
            <a:rPr lang="fi-FI" sz="1400" kern="1200" dirty="0">
              <a:cs typeface="Calibri"/>
            </a:rPr>
            <a:t> emäspariperiaatteen mukaan juosteiden viereen.</a:t>
          </a:r>
          <a:endParaRPr lang="fi-FI" sz="1400" kern="1200" dirty="0"/>
        </a:p>
      </dsp:txBody>
      <dsp:txXfrm>
        <a:off x="281560" y="1002505"/>
        <a:ext cx="2569359" cy="807908"/>
      </dsp:txXfrm>
    </dsp:sp>
    <dsp:sp modelId="{7D3F52FF-D70C-4D91-BBE9-D30FCB0BA85A}">
      <dsp:nvSpPr>
        <dsp:cNvPr id="0" name=""/>
        <dsp:cNvSpPr/>
      </dsp:nvSpPr>
      <dsp:spPr>
        <a:xfrm>
          <a:off x="512850" y="1954740"/>
          <a:ext cx="3433871" cy="858178"/>
        </a:xfrm>
        <a:prstGeom prst="roundRect">
          <a:avLst>
            <a:gd name="adj" fmla="val 10000"/>
          </a:avLst>
        </a:prstGeom>
        <a:solidFill>
          <a:srgbClr val="F27CB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charset="0"/>
            <a:buNone/>
          </a:pPr>
          <a:r>
            <a:rPr lang="fi-FI" sz="1400" kern="1200" dirty="0">
              <a:cs typeface="Calibri"/>
            </a:rPr>
            <a:t>3. Toimiakseen DNA-polymeraasi tarvitsee RNA-alukkeen</a:t>
          </a:r>
          <a:endParaRPr lang="fi-FI" sz="1400" kern="1200" dirty="0"/>
        </a:p>
      </dsp:txBody>
      <dsp:txXfrm>
        <a:off x="537985" y="1979875"/>
        <a:ext cx="2569359" cy="807908"/>
      </dsp:txXfrm>
    </dsp:sp>
    <dsp:sp modelId="{3859C007-451E-4D3D-9B26-4073FB1DF25B}">
      <dsp:nvSpPr>
        <dsp:cNvPr id="0" name=""/>
        <dsp:cNvSpPr/>
      </dsp:nvSpPr>
      <dsp:spPr>
        <a:xfrm>
          <a:off x="769276" y="2932110"/>
          <a:ext cx="3433871" cy="858178"/>
        </a:xfrm>
        <a:prstGeom prst="roundRect">
          <a:avLst>
            <a:gd name="adj" fmla="val 10000"/>
          </a:avLst>
        </a:prstGeom>
        <a:solidFill>
          <a:srgbClr val="F599C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>
              <a:cs typeface="Calibri"/>
            </a:rPr>
            <a:t>4. Toinen juosteista rakentuu paloina ja DNA-polymeraasi tarvitsee useita alukkeita.</a:t>
          </a:r>
          <a:endParaRPr lang="fi-FI" sz="1400" kern="1200" dirty="0"/>
        </a:p>
      </dsp:txBody>
      <dsp:txXfrm>
        <a:off x="794411" y="2957245"/>
        <a:ext cx="2569359" cy="807908"/>
      </dsp:txXfrm>
    </dsp:sp>
    <dsp:sp modelId="{682D0C80-BA1F-4212-B47B-6617A2EF9D69}">
      <dsp:nvSpPr>
        <dsp:cNvPr id="0" name=""/>
        <dsp:cNvSpPr/>
      </dsp:nvSpPr>
      <dsp:spPr>
        <a:xfrm>
          <a:off x="1025701" y="3909480"/>
          <a:ext cx="3433871" cy="858178"/>
        </a:xfrm>
        <a:prstGeom prst="roundRect">
          <a:avLst>
            <a:gd name="adj" fmla="val 10000"/>
          </a:avLst>
        </a:prstGeom>
        <a:solidFill>
          <a:srgbClr val="F9C3DB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>
              <a:cs typeface="Calibri"/>
            </a:rPr>
            <a:t>5. Liittäjäentsyymi liittää palat yhteen</a:t>
          </a:r>
          <a:endParaRPr lang="fi-FI" sz="1400" kern="1200" dirty="0"/>
        </a:p>
      </dsp:txBody>
      <dsp:txXfrm>
        <a:off x="1050836" y="3934615"/>
        <a:ext cx="2569359" cy="807908"/>
      </dsp:txXfrm>
    </dsp:sp>
    <dsp:sp modelId="{ED864F53-A76F-4A4A-AD80-030E3595402C}">
      <dsp:nvSpPr>
        <dsp:cNvPr id="0" name=""/>
        <dsp:cNvSpPr/>
      </dsp:nvSpPr>
      <dsp:spPr>
        <a:xfrm>
          <a:off x="2876055" y="626947"/>
          <a:ext cx="557816" cy="55781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500" kern="1200"/>
        </a:p>
      </dsp:txBody>
      <dsp:txXfrm>
        <a:off x="3001564" y="626947"/>
        <a:ext cx="306798" cy="419757"/>
      </dsp:txXfrm>
    </dsp:sp>
    <dsp:sp modelId="{433AAC31-0EA8-4393-9DD0-0A54212A7A4F}">
      <dsp:nvSpPr>
        <dsp:cNvPr id="0" name=""/>
        <dsp:cNvSpPr/>
      </dsp:nvSpPr>
      <dsp:spPr>
        <a:xfrm>
          <a:off x="3132480" y="1604317"/>
          <a:ext cx="557816" cy="55781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i-FI" sz="2500" kern="1200"/>
        </a:p>
      </dsp:txBody>
      <dsp:txXfrm>
        <a:off x="3257989" y="1604317"/>
        <a:ext cx="306798" cy="419757"/>
      </dsp:txXfrm>
    </dsp:sp>
    <dsp:sp modelId="{33D0F394-C6FA-4064-B5B6-55B705A6596A}">
      <dsp:nvSpPr>
        <dsp:cNvPr id="0" name=""/>
        <dsp:cNvSpPr/>
      </dsp:nvSpPr>
      <dsp:spPr>
        <a:xfrm>
          <a:off x="3388906" y="2567384"/>
          <a:ext cx="557816" cy="55781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i-FI" sz="2500" kern="1200"/>
        </a:p>
      </dsp:txBody>
      <dsp:txXfrm>
        <a:off x="3514415" y="2567384"/>
        <a:ext cx="306798" cy="419757"/>
      </dsp:txXfrm>
    </dsp:sp>
    <dsp:sp modelId="{A7B0F30A-B6DA-4473-98B8-EB02AC47E5B5}">
      <dsp:nvSpPr>
        <dsp:cNvPr id="0" name=""/>
        <dsp:cNvSpPr/>
      </dsp:nvSpPr>
      <dsp:spPr>
        <a:xfrm>
          <a:off x="3645331" y="3554289"/>
          <a:ext cx="557816" cy="55781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i-FI" sz="2500" kern="1200"/>
        </a:p>
      </dsp:txBody>
      <dsp:txXfrm>
        <a:off x="3770840" y="3554289"/>
        <a:ext cx="306798" cy="4197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642660"/>
          <a:ext cx="10515600" cy="50368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ea typeface="+mn-lt"/>
              <a:cs typeface="+mn-lt"/>
            </a:rPr>
            <a:t>DNA:n kopioitumisessa tapahtuu virheitä, joita entsyymit pyrkivät tunnistamaan ja korjaamaan</a:t>
          </a:r>
          <a:endParaRPr lang="fi-FI" sz="2100" kern="1200" dirty="0"/>
        </a:p>
      </dsp:txBody>
      <dsp:txXfrm>
        <a:off x="24588" y="667248"/>
        <a:ext cx="10466424" cy="454509"/>
      </dsp:txXfrm>
    </dsp:sp>
    <dsp:sp modelId="{F18CEDCA-890F-41D9-8AF0-D9869C886198}">
      <dsp:nvSpPr>
        <dsp:cNvPr id="0" name=""/>
        <dsp:cNvSpPr/>
      </dsp:nvSpPr>
      <dsp:spPr>
        <a:xfrm>
          <a:off x="0" y="1206825"/>
          <a:ext cx="10515600" cy="503685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marR="0" lvl="0" indent="0" algn="l" defTabSz="93345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fi-FI" sz="2100" kern="1200" dirty="0">
              <a:cs typeface="Calibri"/>
            </a:rPr>
            <a:t>Pysyvät virheet ovat mutaatioita</a:t>
          </a:r>
          <a:endParaRPr lang="fi-FI" sz="2100" kern="1200" dirty="0"/>
        </a:p>
      </dsp:txBody>
      <dsp:txXfrm>
        <a:off x="24588" y="1231413"/>
        <a:ext cx="10466424" cy="454509"/>
      </dsp:txXfrm>
    </dsp:sp>
    <dsp:sp modelId="{A94AB4FA-ECA5-423B-BE75-33C01E030A8D}">
      <dsp:nvSpPr>
        <dsp:cNvPr id="0" name=""/>
        <dsp:cNvSpPr/>
      </dsp:nvSpPr>
      <dsp:spPr>
        <a:xfrm>
          <a:off x="0" y="1770989"/>
          <a:ext cx="10515600" cy="503685"/>
        </a:xfrm>
        <a:prstGeom prst="roundRect">
          <a:avLst/>
        </a:prstGeom>
        <a:solidFill>
          <a:srgbClr val="F599C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cs typeface="Calibri"/>
            </a:rPr>
            <a:t>Geenimutaatio</a:t>
          </a:r>
          <a:endParaRPr lang="fi-FI" sz="2100" kern="1200" dirty="0"/>
        </a:p>
      </dsp:txBody>
      <dsp:txXfrm>
        <a:off x="24588" y="1795577"/>
        <a:ext cx="10466424" cy="454509"/>
      </dsp:txXfrm>
    </dsp:sp>
    <dsp:sp modelId="{8064DAD9-7BAC-47AA-9058-6C3D00ED6007}">
      <dsp:nvSpPr>
        <dsp:cNvPr id="0" name=""/>
        <dsp:cNvSpPr/>
      </dsp:nvSpPr>
      <dsp:spPr>
        <a:xfrm>
          <a:off x="0" y="2335154"/>
          <a:ext cx="10515600" cy="503685"/>
        </a:xfrm>
        <a:prstGeom prst="roundRect">
          <a:avLst/>
        </a:prstGeom>
        <a:solidFill>
          <a:srgbClr val="F9C3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cs typeface="Calibri"/>
            </a:rPr>
            <a:t>Pistemutaatio on yhden </a:t>
          </a:r>
          <a:r>
            <a:rPr lang="fi-FI" sz="2100" kern="1200" dirty="0" err="1">
              <a:cs typeface="Calibri"/>
            </a:rPr>
            <a:t>nukleotidin</a:t>
          </a:r>
          <a:r>
            <a:rPr lang="fi-FI" sz="2100" kern="1200" dirty="0">
              <a:cs typeface="Calibri"/>
            </a:rPr>
            <a:t> vaihtuminen toiseksi</a:t>
          </a:r>
          <a:endParaRPr lang="fi-FI" sz="2100" kern="1200" dirty="0"/>
        </a:p>
      </dsp:txBody>
      <dsp:txXfrm>
        <a:off x="24588" y="2359742"/>
        <a:ext cx="10466424" cy="45450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996A2A-358E-45DB-8463-BF6520387FA2}">
      <dsp:nvSpPr>
        <dsp:cNvPr id="0" name=""/>
        <dsp:cNvSpPr/>
      </dsp:nvSpPr>
      <dsp:spPr>
        <a:xfrm>
          <a:off x="0" y="13750"/>
          <a:ext cx="3657599" cy="1690942"/>
        </a:xfrm>
        <a:prstGeom prst="roundRect">
          <a:avLst/>
        </a:prstGeom>
        <a:solidFill>
          <a:srgbClr val="EC008C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Hormonit ja kasvutekijät säätelevät solunjakautumista</a:t>
          </a:r>
          <a:endParaRPr lang="en-US" sz="2400" kern="1200" dirty="0"/>
        </a:p>
      </dsp:txBody>
      <dsp:txXfrm>
        <a:off x="82545" y="96295"/>
        <a:ext cx="3492509" cy="1525852"/>
      </dsp:txXfrm>
    </dsp:sp>
    <dsp:sp modelId="{88D26E1A-132F-4929-B661-4F1FCDE43EA0}">
      <dsp:nvSpPr>
        <dsp:cNvPr id="0" name=""/>
        <dsp:cNvSpPr/>
      </dsp:nvSpPr>
      <dsp:spPr>
        <a:xfrm>
          <a:off x="0" y="1773813"/>
          <a:ext cx="3657599" cy="1690942"/>
        </a:xfrm>
        <a:prstGeom prst="roundRect">
          <a:avLst/>
        </a:prstGeom>
        <a:solidFill>
          <a:srgbClr val="F06AA7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Geenit vaikuttavat solunjakautumisen vaiheiden etenemiseen entsyymien avulla</a:t>
          </a:r>
        </a:p>
      </dsp:txBody>
      <dsp:txXfrm>
        <a:off x="82545" y="1856358"/>
        <a:ext cx="3492509" cy="152585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301320"/>
          <a:ext cx="6050280" cy="83537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ea typeface="+mn-lt"/>
              <a:cs typeface="+mn-lt"/>
            </a:rPr>
            <a:t>Kantasolut ovat soluja, jotka kykenevät jakautumaan ja erilaistumaan miksi tahansa elimistön soluksi</a:t>
          </a:r>
          <a:endParaRPr lang="fi-FI" sz="2100" kern="1200" dirty="0"/>
        </a:p>
      </dsp:txBody>
      <dsp:txXfrm>
        <a:off x="40780" y="342100"/>
        <a:ext cx="5968720" cy="753819"/>
      </dsp:txXfrm>
    </dsp:sp>
    <dsp:sp modelId="{F18CEDCA-890F-41D9-8AF0-D9869C886198}">
      <dsp:nvSpPr>
        <dsp:cNvPr id="0" name=""/>
        <dsp:cNvSpPr/>
      </dsp:nvSpPr>
      <dsp:spPr>
        <a:xfrm>
          <a:off x="0" y="1197180"/>
          <a:ext cx="6050280" cy="83537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marR="0" lvl="0" indent="0" algn="l" defTabSz="93345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fi-FI" sz="2100" kern="1200" dirty="0">
              <a:cs typeface="Calibri"/>
            </a:rPr>
            <a:t>Solujen jakautumisten määrä vaihtelee kudoksen, solukon tai eliölajin mukaan</a:t>
          </a:r>
          <a:endParaRPr lang="fi-FI" sz="2100" kern="1200" dirty="0"/>
        </a:p>
      </dsp:txBody>
      <dsp:txXfrm>
        <a:off x="40780" y="1237960"/>
        <a:ext cx="5968720" cy="753819"/>
      </dsp:txXfrm>
    </dsp:sp>
    <dsp:sp modelId="{A94AB4FA-ECA5-423B-BE75-33C01E030A8D}">
      <dsp:nvSpPr>
        <dsp:cNvPr id="0" name=""/>
        <dsp:cNvSpPr/>
      </dsp:nvSpPr>
      <dsp:spPr>
        <a:xfrm>
          <a:off x="0" y="2093040"/>
          <a:ext cx="6050280" cy="83537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cs typeface="Calibri"/>
            </a:rPr>
            <a:t>Jakautumiskertoja on rajallinen määrä</a:t>
          </a:r>
          <a:endParaRPr lang="fi-FI" sz="2100" kern="1200" dirty="0"/>
        </a:p>
      </dsp:txBody>
      <dsp:txXfrm>
        <a:off x="40780" y="2133820"/>
        <a:ext cx="5968720" cy="753819"/>
      </dsp:txXfrm>
    </dsp:sp>
    <dsp:sp modelId="{8064DAD9-7BAC-47AA-9058-6C3D00ED6007}">
      <dsp:nvSpPr>
        <dsp:cNvPr id="0" name=""/>
        <dsp:cNvSpPr/>
      </dsp:nvSpPr>
      <dsp:spPr>
        <a:xfrm>
          <a:off x="0" y="2988900"/>
          <a:ext cx="6050280" cy="83537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100" kern="1200" dirty="0">
              <a:cs typeface="Calibri"/>
            </a:rPr>
            <a:t>Kromosomin päässä on geenitön DNA-jakso, </a:t>
          </a:r>
          <a:r>
            <a:rPr lang="fi-FI" sz="2100" kern="1200" dirty="0" err="1">
              <a:cs typeface="Calibri"/>
            </a:rPr>
            <a:t>telomeeri</a:t>
          </a:r>
          <a:endParaRPr lang="fi-FI" sz="2100" kern="1200" dirty="0"/>
        </a:p>
      </dsp:txBody>
      <dsp:txXfrm>
        <a:off x="40780" y="3029680"/>
        <a:ext cx="5968720" cy="753819"/>
      </dsp:txXfrm>
    </dsp:sp>
    <dsp:sp modelId="{28704CC2-41A7-4346-ADCB-2AC16D860EE2}">
      <dsp:nvSpPr>
        <dsp:cNvPr id="0" name=""/>
        <dsp:cNvSpPr/>
      </dsp:nvSpPr>
      <dsp:spPr>
        <a:xfrm>
          <a:off x="0" y="3824280"/>
          <a:ext cx="6050280" cy="869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96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800" kern="1200" dirty="0">
              <a:cs typeface="Calibri"/>
            </a:rPr>
            <a:t>Jokaisessa solunjakautumisessa </a:t>
          </a:r>
          <a:r>
            <a:rPr lang="fi-FI" sz="1800" kern="1200" dirty="0" err="1">
              <a:cs typeface="Calibri"/>
            </a:rPr>
            <a:t>telomeerit</a:t>
          </a:r>
          <a:r>
            <a:rPr lang="fi-FI" sz="1800" kern="1200" dirty="0">
              <a:cs typeface="Calibri"/>
            </a:rPr>
            <a:t> lyhenevät</a:t>
          </a:r>
          <a:endParaRPr lang="fi-FI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1800" kern="1200" dirty="0">
              <a:cs typeface="Calibri"/>
            </a:rPr>
            <a:t>Kantasoluissa ja syöpäsoluissa </a:t>
          </a:r>
          <a:r>
            <a:rPr lang="fi-FI" sz="1800" kern="1200" dirty="0" err="1">
              <a:cs typeface="Calibri"/>
            </a:rPr>
            <a:t>telomeraasientsyymi</a:t>
          </a:r>
          <a:r>
            <a:rPr lang="fi-FI" sz="1800" kern="1200" dirty="0">
              <a:cs typeface="Calibri"/>
            </a:rPr>
            <a:t> korjaa lyhentyneet kromosomien päät </a:t>
          </a:r>
          <a:endParaRPr lang="fi-FI" sz="1800" kern="1200" dirty="0"/>
        </a:p>
      </dsp:txBody>
      <dsp:txXfrm>
        <a:off x="0" y="3824280"/>
        <a:ext cx="6050280" cy="869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6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7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Layout" Target="../diagrams/layout7.xml"/><Relationship Id="rId11" Type="http://schemas.openxmlformats.org/officeDocument/2006/relationships/image" Target="../media/image9.emf"/><Relationship Id="rId5" Type="http://schemas.openxmlformats.org/officeDocument/2006/relationships/diagramData" Target="../diagrams/data7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30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7796134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8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Solut lisääntyvät jakautumall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5334868"/>
              </p:ext>
            </p:extLst>
          </p:nvPr>
        </p:nvGraphicFramePr>
        <p:xfrm>
          <a:off x="838200" y="1700754"/>
          <a:ext cx="10515600" cy="3043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n elämänkierrossa vaihtelevat välivaihe ja jakautumisvaihe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743962" y="1940439"/>
            <a:ext cx="5041997" cy="3657298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8613901"/>
              </p:ext>
            </p:extLst>
          </p:nvPr>
        </p:nvGraphicFramePr>
        <p:xfrm>
          <a:off x="862366" y="1940438"/>
          <a:ext cx="4376696" cy="4700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837540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DNA kahdentuu välivaiheen aikan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505928" y="1881567"/>
            <a:ext cx="3227119" cy="2376678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1395164"/>
              </p:ext>
            </p:extLst>
          </p:nvPr>
        </p:nvGraphicFramePr>
        <p:xfrm>
          <a:off x="883218" y="1621269"/>
          <a:ext cx="4376696" cy="4700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EBD2302C-8A72-4F06-B641-0EE02D6068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05928" y="4405159"/>
            <a:ext cx="4129593" cy="1881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8216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428887" y="344771"/>
            <a:ext cx="6464302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DNA: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kahdentuminen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5457" y="1440450"/>
            <a:ext cx="6155141" cy="4000841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1807367"/>
              </p:ext>
            </p:extLst>
          </p:nvPr>
        </p:nvGraphicFramePr>
        <p:xfrm>
          <a:off x="322289" y="1940438"/>
          <a:ext cx="4459573" cy="4767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77642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129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235294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/>
                <a:cs typeface="Calibri Light"/>
              </a:rPr>
              <a:t>DNA: kahdentumisessa tapahtuu virheitä</a:t>
            </a:r>
            <a:endParaRPr lang="fi-FI" sz="3600" dirty="0">
              <a:latin typeface="Myriad Pro Semibold"/>
            </a:endParaRPr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07058906"/>
              </p:ext>
            </p:extLst>
          </p:nvPr>
        </p:nvGraphicFramePr>
        <p:xfrm>
          <a:off x="838200" y="1690688"/>
          <a:ext cx="10515600" cy="3481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3837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>
            <a:extLst>
              <a:ext uri="{FF2B5EF4-FFF2-40B4-BE49-F238E27FC236}">
                <a16:creationId xmlns:a16="http://schemas.microsoft.com/office/drawing/2014/main" id="{E23B38B6-C474-4478-B461-DDE3DD760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15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kti 2" hidden="1">
                        <a:extLst>
                          <a:ext uri="{FF2B5EF4-FFF2-40B4-BE49-F238E27FC236}">
                            <a16:creationId xmlns:a16="http://schemas.microsoft.com/office/drawing/2014/main" id="{E23B38B6-C474-4478-B461-DDE3DD7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olujen jakautumista edeltää mitoosi</a:t>
            </a:r>
            <a:endParaRPr lang="fi-FI" sz="3600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8FCC6E92-11BF-44FA-A81B-6B5F5BCC5E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0005" y="1486958"/>
            <a:ext cx="9851990" cy="5371042"/>
          </a:xfrm>
          <a:prstGeom prst="rect">
            <a:avLst/>
          </a:prstGeom>
        </p:spPr>
      </p:pic>
      <p:grpSp>
        <p:nvGrpSpPr>
          <p:cNvPr id="18" name="Ryhmä 17">
            <a:extLst>
              <a:ext uri="{FF2B5EF4-FFF2-40B4-BE49-F238E27FC236}">
                <a16:creationId xmlns:a16="http://schemas.microsoft.com/office/drawing/2014/main" id="{95BCAAE5-5C53-48E6-9FF6-4399AAABD4D1}"/>
              </a:ext>
            </a:extLst>
          </p:cNvPr>
          <p:cNvGrpSpPr/>
          <p:nvPr/>
        </p:nvGrpSpPr>
        <p:grpSpPr>
          <a:xfrm>
            <a:off x="838200" y="3823402"/>
            <a:ext cx="2359014" cy="2216482"/>
            <a:chOff x="0" y="0"/>
            <a:chExt cx="3433871" cy="858178"/>
          </a:xfrm>
        </p:grpSpPr>
        <p:sp>
          <p:nvSpPr>
            <p:cNvPr id="19" name="Suorakulmio: Pyöristetyt kulmat 18">
              <a:extLst>
                <a:ext uri="{FF2B5EF4-FFF2-40B4-BE49-F238E27FC236}">
                  <a16:creationId xmlns:a16="http://schemas.microsoft.com/office/drawing/2014/main" id="{3B5A2344-B829-41B0-9138-10FB1EE5FD99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Suorakulmio: Pyöristetyt kulmat 4">
              <a:extLst>
                <a:ext uri="{FF2B5EF4-FFF2-40B4-BE49-F238E27FC236}">
                  <a16:creationId xmlns:a16="http://schemas.microsoft.com/office/drawing/2014/main" id="{33F42C49-B5C3-48EE-9E77-398558F8C768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Esivaihe</a:t>
              </a:r>
            </a:p>
            <a:p>
              <a:r>
                <a:rPr lang="fi-FI" sz="1400" dirty="0" err="1"/>
                <a:t>Kromatiinirihmat</a:t>
              </a:r>
              <a:r>
                <a:rPr lang="fi-FI" sz="1400" dirty="0"/>
                <a:t> pakkautuvat</a:t>
              </a:r>
              <a:br>
                <a:rPr lang="fi-FI" sz="1400" dirty="0"/>
              </a:br>
              <a:r>
                <a:rPr lang="fi-FI" sz="1400" dirty="0"/>
                <a:t>tiiviiksi kromosomeiksi ja sisar-</a:t>
              </a:r>
              <a:br>
                <a:rPr lang="fi-FI" sz="1400" dirty="0"/>
              </a:br>
              <a:r>
                <a:rPr lang="fi-FI" sz="1400" dirty="0" err="1"/>
                <a:t>kromatidit</a:t>
              </a:r>
              <a:r>
                <a:rPr lang="fi-FI" sz="1400" dirty="0"/>
                <a:t> ovat kiinni toisistaan</a:t>
              </a:r>
              <a:br>
                <a:rPr lang="fi-FI" sz="1400" dirty="0"/>
              </a:br>
              <a:r>
                <a:rPr lang="fi-FI" sz="1400" dirty="0" err="1"/>
                <a:t>sentromeerien</a:t>
              </a:r>
              <a:r>
                <a:rPr lang="fi-FI" sz="1400" dirty="0"/>
                <a:t> kohdalta. Keskus-</a:t>
              </a:r>
              <a:br>
                <a:rPr lang="fi-FI" sz="1400" dirty="0"/>
              </a:br>
              <a:r>
                <a:rPr lang="fi-FI" sz="1400" dirty="0"/>
                <a:t>jyväset kulkevat solun vastakkaisille</a:t>
              </a:r>
              <a:br>
                <a:rPr lang="fi-FI" sz="1400" dirty="0"/>
              </a:br>
              <a:r>
                <a:rPr lang="fi-FI" sz="1400" dirty="0"/>
                <a:t>puolille.</a:t>
              </a:r>
            </a:p>
          </p:txBody>
        </p:sp>
      </p:grpSp>
      <p:grpSp>
        <p:nvGrpSpPr>
          <p:cNvPr id="21" name="Ryhmä 20">
            <a:extLst>
              <a:ext uri="{FF2B5EF4-FFF2-40B4-BE49-F238E27FC236}">
                <a16:creationId xmlns:a16="http://schemas.microsoft.com/office/drawing/2014/main" id="{A537BD05-EE9A-4640-BA4B-0BBF1A5E9A0C}"/>
              </a:ext>
            </a:extLst>
          </p:cNvPr>
          <p:cNvGrpSpPr/>
          <p:nvPr/>
        </p:nvGrpSpPr>
        <p:grpSpPr>
          <a:xfrm>
            <a:off x="3699393" y="1581462"/>
            <a:ext cx="2103620" cy="1224927"/>
            <a:chOff x="0" y="0"/>
            <a:chExt cx="3433871" cy="858178"/>
          </a:xfrm>
        </p:grpSpPr>
        <p:sp>
          <p:nvSpPr>
            <p:cNvPr id="22" name="Suorakulmio: Pyöristetyt kulmat 21">
              <a:extLst>
                <a:ext uri="{FF2B5EF4-FFF2-40B4-BE49-F238E27FC236}">
                  <a16:creationId xmlns:a16="http://schemas.microsoft.com/office/drawing/2014/main" id="{C9B1B633-AD48-4D3C-8CCD-7436A9F439E9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Suorakulmio: Pyöristetyt kulmat 4">
              <a:extLst>
                <a:ext uri="{FF2B5EF4-FFF2-40B4-BE49-F238E27FC236}">
                  <a16:creationId xmlns:a16="http://schemas.microsoft.com/office/drawing/2014/main" id="{36608C9F-4863-45E8-9A76-00693A0368E5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Keskivaihe</a:t>
              </a:r>
            </a:p>
            <a:p>
              <a:r>
                <a:rPr lang="fi-FI" sz="1400" dirty="0"/>
                <a:t>Sukkularihmat kiinnittyvät</a:t>
              </a:r>
              <a:br>
                <a:rPr lang="fi-FI" sz="1400" dirty="0"/>
              </a:br>
              <a:r>
                <a:rPr lang="fi-FI" sz="1400" dirty="0" err="1"/>
                <a:t>sentromeereihin</a:t>
              </a:r>
              <a:r>
                <a:rPr lang="fi-FI" sz="1400" dirty="0"/>
                <a:t> ja vetävät</a:t>
              </a:r>
              <a:br>
                <a:rPr lang="fi-FI" sz="1400" dirty="0"/>
              </a:br>
              <a:r>
                <a:rPr lang="fi-FI" sz="1400" dirty="0"/>
                <a:t>kromosomit keskiosan </a:t>
              </a:r>
              <a:br>
                <a:rPr lang="fi-FI" sz="1400" dirty="0"/>
              </a:br>
              <a:r>
                <a:rPr lang="fi-FI" sz="1400" dirty="0"/>
                <a:t>jakautumistasoon.</a:t>
              </a:r>
            </a:p>
          </p:txBody>
        </p:sp>
      </p:grpSp>
      <p:grpSp>
        <p:nvGrpSpPr>
          <p:cNvPr id="24" name="Ryhmä 23">
            <a:extLst>
              <a:ext uri="{FF2B5EF4-FFF2-40B4-BE49-F238E27FC236}">
                <a16:creationId xmlns:a16="http://schemas.microsoft.com/office/drawing/2014/main" id="{7D86F2AA-F73B-44E6-AC9B-80FA049005C0}"/>
              </a:ext>
            </a:extLst>
          </p:cNvPr>
          <p:cNvGrpSpPr/>
          <p:nvPr/>
        </p:nvGrpSpPr>
        <p:grpSpPr>
          <a:xfrm>
            <a:off x="6096001" y="2591422"/>
            <a:ext cx="2103620" cy="883879"/>
            <a:chOff x="0" y="0"/>
            <a:chExt cx="3433871" cy="858178"/>
          </a:xfrm>
        </p:grpSpPr>
        <p:sp>
          <p:nvSpPr>
            <p:cNvPr id="25" name="Suorakulmio: Pyöristetyt kulmat 24">
              <a:extLst>
                <a:ext uri="{FF2B5EF4-FFF2-40B4-BE49-F238E27FC236}">
                  <a16:creationId xmlns:a16="http://schemas.microsoft.com/office/drawing/2014/main" id="{B3E34E57-BD83-4070-B109-16995B8ADE4E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Suorakulmio: Pyöristetyt kulmat 4">
              <a:extLst>
                <a:ext uri="{FF2B5EF4-FFF2-40B4-BE49-F238E27FC236}">
                  <a16:creationId xmlns:a16="http://schemas.microsoft.com/office/drawing/2014/main" id="{AAD562A7-54BD-41EE-975B-333F91CB9DB4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Jälkivaihe</a:t>
              </a:r>
            </a:p>
            <a:p>
              <a:r>
                <a:rPr lang="fi-FI" sz="1400" dirty="0"/>
                <a:t>Sukkularihmat vetävät</a:t>
              </a:r>
              <a:br>
                <a:rPr lang="fi-FI" sz="1400" dirty="0"/>
              </a:br>
              <a:r>
                <a:rPr lang="fi-FI" sz="1400" dirty="0" err="1"/>
                <a:t>sisarkromatidit</a:t>
              </a:r>
              <a:r>
                <a:rPr lang="fi-FI" sz="1400" dirty="0"/>
                <a:t> erilleen</a:t>
              </a:r>
            </a:p>
          </p:txBody>
        </p:sp>
      </p:grpSp>
      <p:grpSp>
        <p:nvGrpSpPr>
          <p:cNvPr id="27" name="Ryhmä 26">
            <a:extLst>
              <a:ext uri="{FF2B5EF4-FFF2-40B4-BE49-F238E27FC236}">
                <a16:creationId xmlns:a16="http://schemas.microsoft.com/office/drawing/2014/main" id="{ECB1719E-F54E-4D20-A1F6-311B8011AFAD}"/>
              </a:ext>
            </a:extLst>
          </p:cNvPr>
          <p:cNvGrpSpPr/>
          <p:nvPr/>
        </p:nvGrpSpPr>
        <p:grpSpPr>
          <a:xfrm>
            <a:off x="8531426" y="2591422"/>
            <a:ext cx="2280554" cy="1179844"/>
            <a:chOff x="0" y="0"/>
            <a:chExt cx="3433871" cy="858178"/>
          </a:xfrm>
        </p:grpSpPr>
        <p:sp>
          <p:nvSpPr>
            <p:cNvPr id="35" name="Suorakulmio: Pyöristetyt kulmat 34">
              <a:extLst>
                <a:ext uri="{FF2B5EF4-FFF2-40B4-BE49-F238E27FC236}">
                  <a16:creationId xmlns:a16="http://schemas.microsoft.com/office/drawing/2014/main" id="{1FC7D0D8-B8A2-48E9-9518-EA58EA150ABD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Suorakulmio: Pyöristetyt kulmat 4">
              <a:extLst>
                <a:ext uri="{FF2B5EF4-FFF2-40B4-BE49-F238E27FC236}">
                  <a16:creationId xmlns:a16="http://schemas.microsoft.com/office/drawing/2014/main" id="{F18A58B7-7C21-47F4-BECE-7F9613A98C99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Loppuvaihe</a:t>
              </a:r>
            </a:p>
            <a:p>
              <a:r>
                <a:rPr lang="fi-FI" sz="1400" dirty="0"/>
                <a:t>Samanlaiset tytärkromosomit </a:t>
              </a:r>
              <a:br>
                <a:rPr lang="fi-FI" sz="1400" dirty="0"/>
              </a:br>
              <a:r>
                <a:rPr lang="fi-FI" sz="1400" dirty="0"/>
                <a:t>päätyvät eri tytärsoluihin.</a:t>
              </a:r>
              <a:br>
                <a:rPr lang="fi-FI" sz="1400" dirty="0"/>
              </a:br>
              <a:r>
                <a:rPr lang="fi-FI" sz="1400" dirty="0"/>
                <a:t>Niiden ympärille muodostuu</a:t>
              </a:r>
              <a:br>
                <a:rPr lang="fi-FI" sz="1400" dirty="0"/>
              </a:br>
              <a:r>
                <a:rPr lang="fi-FI" sz="1400" dirty="0"/>
                <a:t>tumakotel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963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0AA9639B-B7E2-44C5-9CA4-50187E024E5F}"/>
              </a:ext>
            </a:extLst>
          </p:cNvPr>
          <p:cNvSpPr txBox="1"/>
          <p:nvPr/>
        </p:nvSpPr>
        <p:spPr>
          <a:xfrm>
            <a:off x="563798" y="459696"/>
            <a:ext cx="4265951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sykli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vaiheit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äädellää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tarkasti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45457" y="1576185"/>
            <a:ext cx="6155141" cy="3729370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2441848"/>
              </p:ext>
            </p:extLst>
          </p:nvPr>
        </p:nvGraphicFramePr>
        <p:xfrm>
          <a:off x="563798" y="1878372"/>
          <a:ext cx="3657599" cy="3478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745881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54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235294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/>
                <a:cs typeface="Calibri Light"/>
              </a:rPr>
              <a:t>Jakautumisten määrä on rajallinen</a:t>
            </a:r>
            <a:endParaRPr lang="fi-FI" sz="3600" dirty="0">
              <a:latin typeface="Myriad Pro Semibold"/>
            </a:endParaRPr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6490341"/>
              </p:ext>
            </p:extLst>
          </p:nvPr>
        </p:nvGraphicFramePr>
        <p:xfrm>
          <a:off x="838200" y="1436915"/>
          <a:ext cx="6050280" cy="499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87AFEE6D-3997-40CF-B472-736E88DE41E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36638" y="1532710"/>
            <a:ext cx="3617162" cy="3997234"/>
          </a:xfrm>
          <a:prstGeom prst="rect">
            <a:avLst/>
          </a:prstGeom>
        </p:spPr>
      </p:pic>
      <p:sp>
        <p:nvSpPr>
          <p:cNvPr id="10" name="Tekstiruutu 9">
            <a:extLst>
              <a:ext uri="{FF2B5EF4-FFF2-40B4-BE49-F238E27FC236}">
                <a16:creationId xmlns:a16="http://schemas.microsoft.com/office/drawing/2014/main" id="{A7077038-8B93-427F-8376-FF7C067A49C5}"/>
              </a:ext>
            </a:extLst>
          </p:cNvPr>
          <p:cNvSpPr txBox="1"/>
          <p:nvPr/>
        </p:nvSpPr>
        <p:spPr>
          <a:xfrm>
            <a:off x="7674961" y="5220201"/>
            <a:ext cx="41522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i-FI" sz="1800" b="0" i="0" u="none" strike="noStrike" baseline="0" dirty="0">
                <a:latin typeface="MuseoSans-300"/>
              </a:rPr>
              <a:t>Kuvassa</a:t>
            </a:r>
          </a:p>
          <a:p>
            <a:pPr algn="l"/>
            <a:r>
              <a:rPr lang="fi-FI" sz="1400" b="0" i="0" u="none" strike="noStrike" baseline="0" dirty="0" err="1">
                <a:latin typeface="MuseoSans-300"/>
              </a:rPr>
              <a:t>Telomeerit</a:t>
            </a:r>
            <a:r>
              <a:rPr lang="fi-FI" sz="1400" dirty="0">
                <a:latin typeface="MuseoSans-300"/>
              </a:rPr>
              <a:t> </a:t>
            </a:r>
            <a:r>
              <a:rPr lang="fi-FI" sz="1400" b="0" i="0" u="none" strike="noStrike" baseline="0" dirty="0">
                <a:latin typeface="MuseoSans-300"/>
              </a:rPr>
              <a:t>näkyvät</a:t>
            </a:r>
            <a:r>
              <a:rPr lang="fi-FI" sz="1400" dirty="0">
                <a:latin typeface="MuseoSans-300"/>
              </a:rPr>
              <a:t> </a:t>
            </a:r>
            <a:r>
              <a:rPr lang="fi-FI" sz="1400" b="0" i="0" u="none" strike="noStrike" baseline="0" dirty="0">
                <a:latin typeface="MuseoSans-300"/>
              </a:rPr>
              <a:t>kromosomien</a:t>
            </a:r>
            <a:r>
              <a:rPr lang="fi-FI" sz="1400" dirty="0">
                <a:latin typeface="MuseoSans-300"/>
              </a:rPr>
              <a:t> </a:t>
            </a:r>
            <a:r>
              <a:rPr lang="fi-FI" sz="1400" b="0" i="0" u="none" strike="noStrike" baseline="0" dirty="0">
                <a:latin typeface="MuseoSans-300"/>
              </a:rPr>
              <a:t>päissä punaisina.</a:t>
            </a:r>
            <a:endParaRPr lang="fi-FI" sz="1400" dirty="0"/>
          </a:p>
        </p:txBody>
      </p:sp>
    </p:spTree>
    <p:extLst>
      <p:ext uri="{BB962C8B-B14F-4D97-AF65-F5344CB8AC3E}">
        <p14:creationId xmlns:p14="http://schemas.microsoft.com/office/powerpoint/2010/main" val="13405461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1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/>
                <a:cs typeface="Calibri Light"/>
              </a:rPr>
              <a:t>Tiivistelmä</a:t>
            </a:r>
            <a:endParaRPr lang="fi-FI" sz="3600" dirty="0">
              <a:latin typeface="Myriad Pro Semibold"/>
            </a:endParaRPr>
          </a:p>
        </p:txBody>
      </p:sp>
      <p:pic>
        <p:nvPicPr>
          <p:cNvPr id="26" name="Kuva 25">
            <a:extLst>
              <a:ext uri="{FF2B5EF4-FFF2-40B4-BE49-F238E27FC236}">
                <a16:creationId xmlns:a16="http://schemas.microsoft.com/office/drawing/2014/main" id="{328AC4BB-AECD-47FE-B305-B95D452F1AE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41684" y="464695"/>
            <a:ext cx="5347484" cy="6033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674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30</TotalTime>
  <Words>320</Words>
  <Application>Microsoft Office PowerPoint</Application>
  <PresentationFormat>Laajakuva</PresentationFormat>
  <Paragraphs>57</Paragraphs>
  <Slides>9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MuseoSans-300</vt:lpstr>
      <vt:lpstr>Myriad Pro Semibold</vt:lpstr>
      <vt:lpstr>Office-teema</vt:lpstr>
      <vt:lpstr>think-cell Slide</vt:lpstr>
      <vt:lpstr>8 Solut lisääntyvät jakautumalla</vt:lpstr>
      <vt:lpstr>PowerPoint-esitys</vt:lpstr>
      <vt:lpstr>PowerPoint-esitys</vt:lpstr>
      <vt:lpstr>PowerPoint-esitys</vt:lpstr>
      <vt:lpstr>DNA: kahdentumisessa tapahtuu virheitä</vt:lpstr>
      <vt:lpstr>Solujen jakautumista edeltää mitoosi</vt:lpstr>
      <vt:lpstr>PowerPoint-esitys</vt:lpstr>
      <vt:lpstr>Jakautumisten määrä on rajallinen</vt:lpstr>
      <vt:lpstr>Tiivistelm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20:2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